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7.xml" ContentType="application/vnd.openxmlformats-officedocument.presentationml.notesSlide+xml"/>
  <Override PartName="/ppt/tags/tag171.xml" ContentType="application/vnd.openxmlformats-officedocument.presentationml.tags+xml"/>
  <Override PartName="/ppt/notesSlides/notesSlide8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9.xml" ContentType="application/vnd.openxmlformats-officedocument.presentationml.notesSlide+xml"/>
  <Override PartName="/ppt/tags/tag181.xml" ContentType="application/vnd.openxmlformats-officedocument.presentationml.tags+xml"/>
  <Override PartName="/ppt/notesSlides/notesSlide10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7" r:id="rId5"/>
    <p:sldId id="261" r:id="rId6"/>
    <p:sldId id="264" r:id="rId7"/>
    <p:sldId id="265" r:id="rId8"/>
    <p:sldId id="266" r:id="rId9"/>
    <p:sldId id="2147470695" r:id="rId10"/>
    <p:sldId id="2147470694" r:id="rId11"/>
    <p:sldId id="256" r:id="rId12"/>
    <p:sldId id="259" r:id="rId13"/>
    <p:sldId id="258" r:id="rId14"/>
    <p:sldId id="271" r:id="rId15"/>
  </p:sldIdLst>
  <p:sldSz cx="12192000" cy="6858000"/>
  <p:notesSz cx="6797675" cy="9926638"/>
  <p:custDataLst>
    <p:tags r:id="rId18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A06409-23D9-73EB-20B0-05E94AD503F9}" name="Schaeuble, Ellen-Lisa" initials="SE" userId="S::ellen-lisa.schaeuble@trumpf.com::7a5c3e1d-cf56-4192-bed4-01195d66bef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1DA"/>
    <a:srgbClr val="285172"/>
    <a:srgbClr val="F905E2"/>
    <a:srgbClr val="E8EBF0"/>
    <a:srgbClr val="E5E5E5"/>
    <a:srgbClr val="F2F2F2"/>
    <a:srgbClr val="000000"/>
    <a:srgbClr val="D6D6D6"/>
    <a:srgbClr val="FFFFFF"/>
    <a:srgbClr val="8585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13A0D1-4DD5-7275-6AD7-50B096F7213A}" v="2" dt="2023-04-19T15:04:07.111"/>
    <p1510:client id="{C7251E8A-7365-43BF-B47E-FD3F767F1384}" v="9141" dt="2023-04-19T14:42:17.3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iegler, Moritz" userId="64963377-0688-41ce-81de-c3adb053cc9f" providerId="ADAL" clId="{C7251E8A-7365-43BF-B47E-FD3F767F1384}"/>
    <pc:docChg chg="undo custSel addSld delSld modSld replTag">
      <pc:chgData name="Ziegler, Moritz" userId="64963377-0688-41ce-81de-c3adb053cc9f" providerId="ADAL" clId="{C7251E8A-7365-43BF-B47E-FD3F767F1384}" dt="2023-04-19T14:42:17.320" v="18880"/>
      <pc:docMkLst>
        <pc:docMk/>
      </pc:docMkLst>
      <pc:sldChg chg="modSp">
        <pc:chgData name="Ziegler, Moritz" userId="64963377-0688-41ce-81de-c3adb053cc9f" providerId="ADAL" clId="{C7251E8A-7365-43BF-B47E-FD3F767F1384}" dt="2023-04-19T11:19:16.214" v="18578" actId="122"/>
        <pc:sldMkLst>
          <pc:docMk/>
          <pc:sldMk cId="2052212886" sldId="256"/>
        </pc:sldMkLst>
        <pc:spChg chg="mod">
          <ac:chgData name="Ziegler, Moritz" userId="64963377-0688-41ce-81de-c3adb053cc9f" providerId="ADAL" clId="{C7251E8A-7365-43BF-B47E-FD3F767F1384}" dt="2023-04-19T11:19:16.214" v="18578" actId="122"/>
          <ac:spMkLst>
            <pc:docMk/>
            <pc:sldMk cId="2052212886" sldId="256"/>
            <ac:spMk id="3" creationId="{A913DC72-8A7A-7781-F19C-87A20CA45309}"/>
          </ac:spMkLst>
        </pc:spChg>
      </pc:sldChg>
      <pc:sldChg chg="modSp mod">
        <pc:chgData name="Ziegler, Moritz" userId="64963377-0688-41ce-81de-c3adb053cc9f" providerId="ADAL" clId="{C7251E8A-7365-43BF-B47E-FD3F767F1384}" dt="2023-04-19T14:41:50.526" v="18639" actId="20577"/>
        <pc:sldMkLst>
          <pc:docMk/>
          <pc:sldMk cId="3464748956" sldId="257"/>
        </pc:sldMkLst>
        <pc:spChg chg="mod">
          <ac:chgData name="Ziegler, Moritz" userId="64963377-0688-41ce-81de-c3adb053cc9f" providerId="ADAL" clId="{C7251E8A-7365-43BF-B47E-FD3F767F1384}" dt="2023-04-19T14:41:50.526" v="18639" actId="20577"/>
          <ac:spMkLst>
            <pc:docMk/>
            <pc:sldMk cId="3464748956" sldId="257"/>
            <ac:spMk id="3" creationId="{86FF8445-D5FF-423F-B070-6822BC59EF1A}"/>
          </ac:spMkLst>
        </pc:spChg>
      </pc:sldChg>
      <pc:sldChg chg="addSp delSp modSp mod">
        <pc:chgData name="Ziegler, Moritz" userId="64963377-0688-41ce-81de-c3adb053cc9f" providerId="ADAL" clId="{C7251E8A-7365-43BF-B47E-FD3F767F1384}" dt="2023-04-19T14:42:17.320" v="18880"/>
        <pc:sldMkLst>
          <pc:docMk/>
          <pc:sldMk cId="2479984458" sldId="261"/>
        </pc:sldMkLst>
        <pc:spChg chg="mod">
          <ac:chgData name="Ziegler, Moritz" userId="64963377-0688-41ce-81de-c3adb053cc9f" providerId="ADAL" clId="{C7251E8A-7365-43BF-B47E-FD3F767F1384}" dt="2023-04-19T14:42:17.279" v="18837" actId="948"/>
          <ac:spMkLst>
            <pc:docMk/>
            <pc:sldMk cId="2479984458" sldId="261"/>
            <ac:spMk id="2" creationId="{DD71C5EB-324B-A491-81CB-E1FCE462824E}"/>
          </ac:spMkLst>
        </pc:spChg>
        <pc:spChg chg="add del mod modVis">
          <ac:chgData name="Ziegler, Moritz" userId="64963377-0688-41ce-81de-c3adb053cc9f" providerId="ADAL" clId="{C7251E8A-7365-43BF-B47E-FD3F767F1384}" dt="2023-04-19T14:42:09.684" v="18717"/>
          <ac:spMkLst>
            <pc:docMk/>
            <pc:sldMk cId="2479984458" sldId="261"/>
            <ac:spMk id="3" creationId="{0B890094-7CEB-0AD4-BACF-69741B578BEF}"/>
          </ac:spMkLst>
        </pc:spChg>
        <pc:spChg chg="add del mod modVis">
          <ac:chgData name="Ziegler, Moritz" userId="64963377-0688-41ce-81de-c3adb053cc9f" providerId="ADAL" clId="{C7251E8A-7365-43BF-B47E-FD3F767F1384}" dt="2023-04-19T14:42:12.138" v="18769"/>
          <ac:spMkLst>
            <pc:docMk/>
            <pc:sldMk cId="2479984458" sldId="261"/>
            <ac:spMk id="7" creationId="{C23363A4-4C7A-7A65-EA1D-1821903B5040}"/>
          </ac:spMkLst>
        </pc:spChg>
        <pc:spChg chg="add del mod modVis">
          <ac:chgData name="Ziegler, Moritz" userId="64963377-0688-41ce-81de-c3adb053cc9f" providerId="ADAL" clId="{C7251E8A-7365-43BF-B47E-FD3F767F1384}" dt="2023-04-19T14:42:16.433" v="18833"/>
          <ac:spMkLst>
            <pc:docMk/>
            <pc:sldMk cId="2479984458" sldId="261"/>
            <ac:spMk id="10" creationId="{E8CA40B6-3B5C-DEDD-A185-4BA0F1F580F7}"/>
          </ac:spMkLst>
        </pc:spChg>
        <pc:spChg chg="add del mod modVis">
          <ac:chgData name="Ziegler, Moritz" userId="64963377-0688-41ce-81de-c3adb053cc9f" providerId="ADAL" clId="{C7251E8A-7365-43BF-B47E-FD3F767F1384}" dt="2023-04-19T14:42:17.316" v="18878"/>
          <ac:spMkLst>
            <pc:docMk/>
            <pc:sldMk cId="2479984458" sldId="261"/>
            <ac:spMk id="12" creationId="{157132E5-E34B-82A6-0A3C-936400FA1D04}"/>
          </ac:spMkLst>
        </pc:spChg>
        <pc:graphicFrameChg chg="mod">
          <ac:chgData name="Ziegler, Moritz" userId="64963377-0688-41ce-81de-c3adb053cc9f" providerId="ADAL" clId="{C7251E8A-7365-43BF-B47E-FD3F767F1384}" dt="2023-04-19T14:42:17.320" v="18880"/>
          <ac:graphicFrameMkLst>
            <pc:docMk/>
            <pc:sldMk cId="2479984458" sldId="261"/>
            <ac:graphicFrameMk id="5" creationId="{1946D1C3-674D-6A42-21A1-BAB95A7A3057}"/>
          </ac:graphicFrameMkLst>
        </pc:graphicFrameChg>
        <pc:picChg chg="add mod">
          <ac:chgData name="Ziegler, Moritz" userId="64963377-0688-41ce-81de-c3adb053cc9f" providerId="ADAL" clId="{C7251E8A-7365-43BF-B47E-FD3F767F1384}" dt="2023-04-19T11:12:33.663" v="18576" actId="108"/>
          <ac:picMkLst>
            <pc:docMk/>
            <pc:sldMk cId="2479984458" sldId="261"/>
            <ac:picMk id="4" creationId="{D8B11E38-7741-3844-E5EE-759E9046BCDB}"/>
          </ac:picMkLst>
        </pc:picChg>
        <pc:picChg chg="mod">
          <ac:chgData name="Ziegler, Moritz" userId="64963377-0688-41ce-81de-c3adb053cc9f" providerId="ADAL" clId="{C7251E8A-7365-43BF-B47E-FD3F767F1384}" dt="2023-04-19T11:12:31.627" v="18575" actId="108"/>
          <ac:picMkLst>
            <pc:docMk/>
            <pc:sldMk cId="2479984458" sldId="261"/>
            <ac:picMk id="6" creationId="{CA90A56A-1213-0267-17EF-4CBF0EEB7C8E}"/>
          </ac:picMkLst>
        </pc:picChg>
        <pc:picChg chg="del mod ord">
          <ac:chgData name="Ziegler, Moritz" userId="64963377-0688-41ce-81de-c3adb053cc9f" providerId="ADAL" clId="{C7251E8A-7365-43BF-B47E-FD3F767F1384}" dt="2023-04-19T11:09:13.676" v="18530" actId="478"/>
          <ac:picMkLst>
            <pc:docMk/>
            <pc:sldMk cId="2479984458" sldId="261"/>
            <ac:picMk id="7" creationId="{4552C5BF-3D6A-7B89-015F-C07C942B3FBC}"/>
          </ac:picMkLst>
        </pc:picChg>
        <pc:picChg chg="mod ord">
          <ac:chgData name="Ziegler, Moritz" userId="64963377-0688-41ce-81de-c3adb053cc9f" providerId="ADAL" clId="{C7251E8A-7365-43BF-B47E-FD3F767F1384}" dt="2023-04-19T11:09:11.200" v="18523"/>
          <ac:picMkLst>
            <pc:docMk/>
            <pc:sldMk cId="2479984458" sldId="261"/>
            <ac:picMk id="8" creationId="{354743ED-D0D9-F40B-1290-CF1DE2608BD6}"/>
          </ac:picMkLst>
        </pc:picChg>
        <pc:picChg chg="mod">
          <ac:chgData name="Ziegler, Moritz" userId="64963377-0688-41ce-81de-c3adb053cc9f" providerId="ADAL" clId="{C7251E8A-7365-43BF-B47E-FD3F767F1384}" dt="2023-04-19T11:12:41.323" v="18577" actId="1076"/>
          <ac:picMkLst>
            <pc:docMk/>
            <pc:sldMk cId="2479984458" sldId="261"/>
            <ac:picMk id="11" creationId="{508A2024-10CD-EE07-98EC-F658B1C6CF02}"/>
          </ac:picMkLst>
        </pc:picChg>
      </pc:sldChg>
      <pc:sldChg chg="del">
        <pc:chgData name="Ziegler, Moritz" userId="64963377-0688-41ce-81de-c3adb053cc9f" providerId="ADAL" clId="{C7251E8A-7365-43BF-B47E-FD3F767F1384}" dt="2023-04-19T10:54:21.299" v="6159" actId="47"/>
        <pc:sldMkLst>
          <pc:docMk/>
          <pc:sldMk cId="206869734" sldId="2147470692"/>
        </pc:sldMkLst>
      </pc:sldChg>
      <pc:sldChg chg="addSp delSp modSp add mod">
        <pc:chgData name="Ziegler, Moritz" userId="64963377-0688-41ce-81de-c3adb053cc9f" providerId="ADAL" clId="{C7251E8A-7365-43BF-B47E-FD3F767F1384}" dt="2023-04-19T11:08:45.413" v="18507"/>
        <pc:sldMkLst>
          <pc:docMk/>
          <pc:sldMk cId="4000344322" sldId="2147470695"/>
        </pc:sldMkLst>
        <pc:spChg chg="mod ord">
          <ac:chgData name="Ziegler, Moritz" userId="64963377-0688-41ce-81de-c3adb053cc9f" providerId="ADAL" clId="{C7251E8A-7365-43BF-B47E-FD3F767F1384}" dt="2023-04-19T11:08:45.400" v="18474"/>
          <ac:spMkLst>
            <pc:docMk/>
            <pc:sldMk cId="4000344322" sldId="2147470695"/>
            <ac:spMk id="2" creationId="{7F480F77-3323-7F9A-B16C-71D4B0E51EB1}"/>
          </ac:spMkLst>
        </pc:spChg>
        <pc:spChg chg="mod ord">
          <ac:chgData name="Ziegler, Moritz" userId="64963377-0688-41ce-81de-c3adb053cc9f" providerId="ADAL" clId="{C7251E8A-7365-43BF-B47E-FD3F767F1384}" dt="2023-04-19T11:08:45.400" v="18476"/>
          <ac:spMkLst>
            <pc:docMk/>
            <pc:sldMk cId="4000344322" sldId="2147470695"/>
            <ac:spMk id="3" creationId="{340C2A58-B269-44B6-3209-073FF82668AA}"/>
          </ac:spMkLst>
        </pc:spChg>
        <pc:spChg chg="add del mod modVis">
          <ac:chgData name="Ziegler, Moritz" userId="64963377-0688-41ce-81de-c3adb053cc9f" providerId="ADAL" clId="{C7251E8A-7365-43BF-B47E-FD3F767F1384}" dt="2023-04-19T10:17:08.262" v="67"/>
          <ac:spMkLst>
            <pc:docMk/>
            <pc:sldMk cId="4000344322" sldId="2147470695"/>
            <ac:spMk id="4" creationId="{89FF4224-D148-B096-72A5-0E51BABCC74C}"/>
          </ac:spMkLst>
        </pc:spChg>
        <pc:spChg chg="add del mod replST">
          <ac:chgData name="Ziegler, Moritz" userId="64963377-0688-41ce-81de-c3adb053cc9f" providerId="ADAL" clId="{C7251E8A-7365-43BF-B47E-FD3F767F1384}" dt="2023-04-19T10:52:00.161" v="4654"/>
          <ac:spMkLst>
            <pc:docMk/>
            <pc:sldMk cId="4000344322" sldId="2147470695"/>
            <ac:spMk id="8" creationId="{DBDC4011-786A-EC7B-3F90-74FE8FD06CEA}"/>
          </ac:spMkLst>
        </pc:spChg>
        <pc:spChg chg="add del mod replST">
          <ac:chgData name="Ziegler, Moritz" userId="64963377-0688-41ce-81de-c3adb053cc9f" providerId="ADAL" clId="{C7251E8A-7365-43BF-B47E-FD3F767F1384}" dt="2023-04-19T10:52:00.164" v="4664"/>
          <ac:spMkLst>
            <pc:docMk/>
            <pc:sldMk cId="4000344322" sldId="2147470695"/>
            <ac:spMk id="9" creationId="{45D938D8-E1A6-BF73-C941-B42378C37F43}"/>
          </ac:spMkLst>
        </pc:spChg>
        <pc:spChg chg="add del mod replST">
          <ac:chgData name="Ziegler, Moritz" userId="64963377-0688-41ce-81de-c3adb053cc9f" providerId="ADAL" clId="{C7251E8A-7365-43BF-B47E-FD3F767F1384}" dt="2023-04-19T10:52:00.161" v="4655"/>
          <ac:spMkLst>
            <pc:docMk/>
            <pc:sldMk cId="4000344322" sldId="2147470695"/>
            <ac:spMk id="10" creationId="{EACD3BE3-5F9C-B1A3-A17B-1E0641F3E45A}"/>
          </ac:spMkLst>
        </pc:spChg>
        <pc:spChg chg="add del mod replST">
          <ac:chgData name="Ziegler, Moritz" userId="64963377-0688-41ce-81de-c3adb053cc9f" providerId="ADAL" clId="{C7251E8A-7365-43BF-B47E-FD3F767F1384}" dt="2023-04-19T10:52:00.164" v="4665"/>
          <ac:spMkLst>
            <pc:docMk/>
            <pc:sldMk cId="4000344322" sldId="2147470695"/>
            <ac:spMk id="11" creationId="{533A93D1-4848-11E8-B336-7A99FD527F20}"/>
          </ac:spMkLst>
        </pc:spChg>
        <pc:spChg chg="add del mod replST">
          <ac:chgData name="Ziegler, Moritz" userId="64963377-0688-41ce-81de-c3adb053cc9f" providerId="ADAL" clId="{C7251E8A-7365-43BF-B47E-FD3F767F1384}" dt="2023-04-19T10:52:00.160" v="4652"/>
          <ac:spMkLst>
            <pc:docMk/>
            <pc:sldMk cId="4000344322" sldId="2147470695"/>
            <ac:spMk id="12" creationId="{33D298DA-7945-5C0B-4E4D-82B00CC178E5}"/>
          </ac:spMkLst>
        </pc:spChg>
        <pc:spChg chg="add del mod replST">
          <ac:chgData name="Ziegler, Moritz" userId="64963377-0688-41ce-81de-c3adb053cc9f" providerId="ADAL" clId="{C7251E8A-7365-43BF-B47E-FD3F767F1384}" dt="2023-04-19T10:52:00.161" v="4653"/>
          <ac:spMkLst>
            <pc:docMk/>
            <pc:sldMk cId="4000344322" sldId="2147470695"/>
            <ac:spMk id="13" creationId="{49784D01-E4C8-8D01-C3A1-B15DCE499F0C}"/>
          </ac:spMkLst>
        </pc:spChg>
        <pc:spChg chg="add del mod replST">
          <ac:chgData name="Ziegler, Moritz" userId="64963377-0688-41ce-81de-c3adb053cc9f" providerId="ADAL" clId="{C7251E8A-7365-43BF-B47E-FD3F767F1384}" dt="2023-04-19T10:52:00.164" v="4666"/>
          <ac:spMkLst>
            <pc:docMk/>
            <pc:sldMk cId="4000344322" sldId="2147470695"/>
            <ac:spMk id="14" creationId="{6DAB8CED-4D01-2282-7142-A9840DAC97EE}"/>
          </ac:spMkLst>
        </pc:spChg>
        <pc:spChg chg="add del mod replST">
          <ac:chgData name="Ziegler, Moritz" userId="64963377-0688-41ce-81de-c3adb053cc9f" providerId="ADAL" clId="{C7251E8A-7365-43BF-B47E-FD3F767F1384}" dt="2023-04-19T10:52:00.162" v="4658"/>
          <ac:spMkLst>
            <pc:docMk/>
            <pc:sldMk cId="4000344322" sldId="2147470695"/>
            <ac:spMk id="15" creationId="{0CDDAFC9-3C5C-0765-A2A2-DDF3B8DF5295}"/>
          </ac:spMkLst>
        </pc:spChg>
        <pc:spChg chg="add del mod replST">
          <ac:chgData name="Ziegler, Moritz" userId="64963377-0688-41ce-81de-c3adb053cc9f" providerId="ADAL" clId="{C7251E8A-7365-43BF-B47E-FD3F767F1384}" dt="2023-04-19T10:52:00.163" v="4661"/>
          <ac:spMkLst>
            <pc:docMk/>
            <pc:sldMk cId="4000344322" sldId="2147470695"/>
            <ac:spMk id="16" creationId="{EA227883-B9AF-D317-2DFE-75FEDB1895DF}"/>
          </ac:spMkLst>
        </pc:spChg>
        <pc:spChg chg="add del mod replST">
          <ac:chgData name="Ziegler, Moritz" userId="64963377-0688-41ce-81de-c3adb053cc9f" providerId="ADAL" clId="{C7251E8A-7365-43BF-B47E-FD3F767F1384}" dt="2023-04-19T10:52:00.163" v="4663"/>
          <ac:spMkLst>
            <pc:docMk/>
            <pc:sldMk cId="4000344322" sldId="2147470695"/>
            <ac:spMk id="17" creationId="{A3967043-7EAD-42D6-18D5-BBBBBF569B7F}"/>
          </ac:spMkLst>
        </pc:spChg>
        <pc:spChg chg="add del mod ord replST">
          <ac:chgData name="Ziegler, Moritz" userId="64963377-0688-41ce-81de-c3adb053cc9f" providerId="ADAL" clId="{C7251E8A-7365-43BF-B47E-FD3F767F1384}" dt="2023-04-19T10:17:12.687" v="1550"/>
          <ac:spMkLst>
            <pc:docMk/>
            <pc:sldMk cId="4000344322" sldId="2147470695"/>
            <ac:spMk id="18" creationId="{E31AF76F-3A81-DD62-CDAF-1E852C34B52A}"/>
          </ac:spMkLst>
        </pc:spChg>
        <pc:spChg chg="add del mod ord replST">
          <ac:chgData name="Ziegler, Moritz" userId="64963377-0688-41ce-81de-c3adb053cc9f" providerId="ADAL" clId="{C7251E8A-7365-43BF-B47E-FD3F767F1384}" dt="2023-04-19T10:17:41.959" v="2951"/>
          <ac:spMkLst>
            <pc:docMk/>
            <pc:sldMk cId="4000344322" sldId="2147470695"/>
            <ac:spMk id="19" creationId="{BBE09D19-6ECC-9EF1-5B47-5991D398C113}"/>
          </ac:spMkLst>
        </pc:spChg>
        <pc:spChg chg="add del mod ord replST">
          <ac:chgData name="Ziegler, Moritz" userId="64963377-0688-41ce-81de-c3adb053cc9f" providerId="ADAL" clId="{C7251E8A-7365-43BF-B47E-FD3F767F1384}" dt="2023-04-19T10:17:37.196" v="2270"/>
          <ac:spMkLst>
            <pc:docMk/>
            <pc:sldMk cId="4000344322" sldId="2147470695"/>
            <ac:spMk id="23" creationId="{BF19B2FE-F314-3D90-FB49-FBABA836721A}"/>
          </ac:spMkLst>
        </pc:spChg>
        <pc:spChg chg="add del mod ord replST">
          <ac:chgData name="Ziegler, Moritz" userId="64963377-0688-41ce-81de-c3adb053cc9f" providerId="ADAL" clId="{C7251E8A-7365-43BF-B47E-FD3F767F1384}" dt="2023-04-19T10:17:32.535" v="1830"/>
          <ac:spMkLst>
            <pc:docMk/>
            <pc:sldMk cId="4000344322" sldId="2147470695"/>
            <ac:spMk id="24" creationId="{F1514940-E601-C679-7B05-8030E19AAF01}"/>
          </ac:spMkLst>
        </pc:spChg>
        <pc:spChg chg="del">
          <ac:chgData name="Ziegler, Moritz" userId="64963377-0688-41ce-81de-c3adb053cc9f" providerId="ADAL" clId="{C7251E8A-7365-43BF-B47E-FD3F767F1384}" dt="2023-04-19T10:17:08.168" v="12"/>
          <ac:spMkLst>
            <pc:docMk/>
            <pc:sldMk cId="4000344322" sldId="2147470695"/>
            <ac:spMk id="26" creationId="{2153FDD3-1BAD-528D-E1B1-8AC89B721CDF}"/>
          </ac:spMkLst>
        </pc:spChg>
        <pc:spChg chg="del">
          <ac:chgData name="Ziegler, Moritz" userId="64963377-0688-41ce-81de-c3adb053cc9f" providerId="ADAL" clId="{C7251E8A-7365-43BF-B47E-FD3F767F1384}" dt="2023-04-19T10:17:08.170" v="22"/>
          <ac:spMkLst>
            <pc:docMk/>
            <pc:sldMk cId="4000344322" sldId="2147470695"/>
            <ac:spMk id="27" creationId="{AA9FE2C2-72DA-4007-E0CF-FDC8FF7EDB5B}"/>
          </ac:spMkLst>
        </pc:spChg>
        <pc:spChg chg="del">
          <ac:chgData name="Ziegler, Moritz" userId="64963377-0688-41ce-81de-c3adb053cc9f" providerId="ADAL" clId="{C7251E8A-7365-43BF-B47E-FD3F767F1384}" dt="2023-04-19T10:17:08.164" v="3"/>
          <ac:spMkLst>
            <pc:docMk/>
            <pc:sldMk cId="4000344322" sldId="2147470695"/>
            <ac:spMk id="28" creationId="{23C1E585-9493-3132-27C3-4B30ECC757FD}"/>
          </ac:spMkLst>
        </pc:spChg>
        <pc:spChg chg="del">
          <ac:chgData name="Ziegler, Moritz" userId="64963377-0688-41ce-81de-c3adb053cc9f" providerId="ADAL" clId="{C7251E8A-7365-43BF-B47E-FD3F767F1384}" dt="2023-04-19T10:17:08.164" v="2"/>
          <ac:spMkLst>
            <pc:docMk/>
            <pc:sldMk cId="4000344322" sldId="2147470695"/>
            <ac:spMk id="29" creationId="{DE1E29F2-1248-D4C0-4DB9-79A3150B7A1F}"/>
          </ac:spMkLst>
        </pc:spChg>
        <pc:spChg chg="del">
          <ac:chgData name="Ziegler, Moritz" userId="64963377-0688-41ce-81de-c3adb053cc9f" providerId="ADAL" clId="{C7251E8A-7365-43BF-B47E-FD3F767F1384}" dt="2023-04-19T10:17:08.170" v="21"/>
          <ac:spMkLst>
            <pc:docMk/>
            <pc:sldMk cId="4000344322" sldId="2147470695"/>
            <ac:spMk id="30" creationId="{7F4ED782-F073-86DE-6C02-A7667CA7B4B5}"/>
          </ac:spMkLst>
        </pc:spChg>
        <pc:spChg chg="del">
          <ac:chgData name="Ziegler, Moritz" userId="64963377-0688-41ce-81de-c3adb053cc9f" providerId="ADAL" clId="{C7251E8A-7365-43BF-B47E-FD3F767F1384}" dt="2023-04-19T10:17:08.165" v="6"/>
          <ac:spMkLst>
            <pc:docMk/>
            <pc:sldMk cId="4000344322" sldId="2147470695"/>
            <ac:spMk id="31" creationId="{8AFBB0D9-CB6C-2A64-7D0F-DFD7C2784D63}"/>
          </ac:spMkLst>
        </pc:spChg>
        <pc:spChg chg="del">
          <ac:chgData name="Ziegler, Moritz" userId="64963377-0688-41ce-81de-c3adb053cc9f" providerId="ADAL" clId="{C7251E8A-7365-43BF-B47E-FD3F767F1384}" dt="2023-04-19T10:17:08.170" v="19"/>
          <ac:spMkLst>
            <pc:docMk/>
            <pc:sldMk cId="4000344322" sldId="2147470695"/>
            <ac:spMk id="32" creationId="{57D4747F-800B-9BD8-5AD4-3C1CA56FC969}"/>
          </ac:spMkLst>
        </pc:spChg>
        <pc:spChg chg="del">
          <ac:chgData name="Ziegler, Moritz" userId="64963377-0688-41ce-81de-c3adb053cc9f" providerId="ADAL" clId="{C7251E8A-7365-43BF-B47E-FD3F767F1384}" dt="2023-04-19T10:17:08.169" v="16"/>
          <ac:spMkLst>
            <pc:docMk/>
            <pc:sldMk cId="4000344322" sldId="2147470695"/>
            <ac:spMk id="33" creationId="{A6EC2A08-0973-AA6F-ECC7-F3DD9BF899A7}"/>
          </ac:spMkLst>
        </pc:spChg>
        <pc:spChg chg="del">
          <ac:chgData name="Ziegler, Moritz" userId="64963377-0688-41ce-81de-c3adb053cc9f" providerId="ADAL" clId="{C7251E8A-7365-43BF-B47E-FD3F767F1384}" dt="2023-04-19T10:17:08.170" v="20"/>
          <ac:spMkLst>
            <pc:docMk/>
            <pc:sldMk cId="4000344322" sldId="2147470695"/>
            <ac:spMk id="34" creationId="{BDDD3A46-EE77-960B-850E-947B03BD9260}"/>
          </ac:spMkLst>
        </pc:spChg>
        <pc:spChg chg="del">
          <ac:chgData name="Ziegler, Moritz" userId="64963377-0688-41ce-81de-c3adb053cc9f" providerId="ADAL" clId="{C7251E8A-7365-43BF-B47E-FD3F767F1384}" dt="2023-04-19T10:17:08.168" v="13"/>
          <ac:spMkLst>
            <pc:docMk/>
            <pc:sldMk cId="4000344322" sldId="2147470695"/>
            <ac:spMk id="35" creationId="{FA5F4088-7541-2DC5-FBF6-3E0ABFE01B24}"/>
          </ac:spMkLst>
        </pc:spChg>
        <pc:spChg chg="del">
          <ac:chgData name="Ziegler, Moritz" userId="64963377-0688-41ce-81de-c3adb053cc9f" providerId="ADAL" clId="{C7251E8A-7365-43BF-B47E-FD3F767F1384}" dt="2023-04-19T10:17:08.164" v="5"/>
          <ac:spMkLst>
            <pc:docMk/>
            <pc:sldMk cId="4000344322" sldId="2147470695"/>
            <ac:spMk id="36" creationId="{4D84583C-C9B3-1CCF-4364-47929CBB53A1}"/>
          </ac:spMkLst>
        </pc:spChg>
        <pc:spChg chg="del">
          <ac:chgData name="Ziegler, Moritz" userId="64963377-0688-41ce-81de-c3adb053cc9f" providerId="ADAL" clId="{C7251E8A-7365-43BF-B47E-FD3F767F1384}" dt="2023-04-19T10:17:08.163" v="1"/>
          <ac:spMkLst>
            <pc:docMk/>
            <pc:sldMk cId="4000344322" sldId="2147470695"/>
            <ac:spMk id="37" creationId="{887140DF-0CB8-AD06-928F-AC63151815F7}"/>
          </ac:spMkLst>
        </pc:spChg>
        <pc:spChg chg="del">
          <ac:chgData name="Ziegler, Moritz" userId="64963377-0688-41ce-81de-c3adb053cc9f" providerId="ADAL" clId="{C7251E8A-7365-43BF-B47E-FD3F767F1384}" dt="2023-04-19T10:17:08.165" v="7"/>
          <ac:spMkLst>
            <pc:docMk/>
            <pc:sldMk cId="4000344322" sldId="2147470695"/>
            <ac:spMk id="38" creationId="{7027A4D6-5617-4A70-C241-73E33969C24A}"/>
          </ac:spMkLst>
        </pc:spChg>
        <pc:spChg chg="del">
          <ac:chgData name="Ziegler, Moritz" userId="64963377-0688-41ce-81de-c3adb053cc9f" providerId="ADAL" clId="{C7251E8A-7365-43BF-B47E-FD3F767F1384}" dt="2023-04-19T10:17:08.164" v="4"/>
          <ac:spMkLst>
            <pc:docMk/>
            <pc:sldMk cId="4000344322" sldId="2147470695"/>
            <ac:spMk id="39" creationId="{0E6F191B-7EFC-06EE-8715-657B86874164}"/>
          </ac:spMkLst>
        </pc:spChg>
        <pc:spChg chg="add del mod ord replST">
          <ac:chgData name="Ziegler, Moritz" userId="64963377-0688-41ce-81de-c3adb053cc9f" providerId="ADAL" clId="{C7251E8A-7365-43BF-B47E-FD3F767F1384}" dt="2023-04-19T10:17:12.670" v="1504"/>
          <ac:spMkLst>
            <pc:docMk/>
            <pc:sldMk cId="4000344322" sldId="2147470695"/>
            <ac:spMk id="40" creationId="{AD8ADDA4-B04F-AAEF-DD01-771680F221B2}"/>
          </ac:spMkLst>
        </pc:spChg>
        <pc:spChg chg="add del mod ord replST">
          <ac:chgData name="Ziegler, Moritz" userId="64963377-0688-41ce-81de-c3adb053cc9f" providerId="ADAL" clId="{C7251E8A-7365-43BF-B47E-FD3F767F1384}" dt="2023-04-19T10:17:41.960" v="2953"/>
          <ac:spMkLst>
            <pc:docMk/>
            <pc:sldMk cId="4000344322" sldId="2147470695"/>
            <ac:spMk id="41" creationId="{71F843BC-8E71-8D4E-F876-239952408766}"/>
          </ac:spMkLst>
        </pc:spChg>
        <pc:spChg chg="add del mod ord replST">
          <ac:chgData name="Ziegler, Moritz" userId="64963377-0688-41ce-81de-c3adb053cc9f" providerId="ADAL" clId="{C7251E8A-7365-43BF-B47E-FD3F767F1384}" dt="2023-04-19T10:17:37.198" v="2274"/>
          <ac:spMkLst>
            <pc:docMk/>
            <pc:sldMk cId="4000344322" sldId="2147470695"/>
            <ac:spMk id="42" creationId="{4A4A2CA8-58C9-FC5D-1907-0257CDD17313}"/>
          </ac:spMkLst>
        </pc:spChg>
        <pc:spChg chg="add del mod replST">
          <ac:chgData name="Ziegler, Moritz" userId="64963377-0688-41ce-81de-c3adb053cc9f" providerId="ADAL" clId="{C7251E8A-7365-43BF-B47E-FD3F767F1384}" dt="2023-04-19T10:17:12.681" v="1532"/>
          <ac:spMkLst>
            <pc:docMk/>
            <pc:sldMk cId="4000344322" sldId="2147470695"/>
            <ac:spMk id="43" creationId="{F8AF982E-C182-0258-4AF0-E968447F72C6}"/>
          </ac:spMkLst>
        </pc:spChg>
        <pc:spChg chg="add del mod ord replST">
          <ac:chgData name="Ziegler, Moritz" userId="64963377-0688-41ce-81de-c3adb053cc9f" providerId="ADAL" clId="{C7251E8A-7365-43BF-B47E-FD3F767F1384}" dt="2023-04-19T10:17:37.197" v="2272"/>
          <ac:spMkLst>
            <pc:docMk/>
            <pc:sldMk cId="4000344322" sldId="2147470695"/>
            <ac:spMk id="44" creationId="{BE7C1333-1251-3805-67B9-C1CEF19CD742}"/>
          </ac:spMkLst>
        </pc:spChg>
        <pc:spChg chg="add del mod ord replST">
          <ac:chgData name="Ziegler, Moritz" userId="64963377-0688-41ce-81de-c3adb053cc9f" providerId="ADAL" clId="{C7251E8A-7365-43BF-B47E-FD3F767F1384}" dt="2023-04-19T10:17:41.961" v="2955"/>
          <ac:spMkLst>
            <pc:docMk/>
            <pc:sldMk cId="4000344322" sldId="2147470695"/>
            <ac:spMk id="45" creationId="{449FA8D8-EB06-805E-25E9-17F65E5D2EEC}"/>
          </ac:spMkLst>
        </pc:spChg>
        <pc:spChg chg="add del mod ord replST">
          <ac:chgData name="Ziegler, Moritz" userId="64963377-0688-41ce-81de-c3adb053cc9f" providerId="ADAL" clId="{C7251E8A-7365-43BF-B47E-FD3F767F1384}" dt="2023-04-19T10:17:32.536" v="1834"/>
          <ac:spMkLst>
            <pc:docMk/>
            <pc:sldMk cId="4000344322" sldId="2147470695"/>
            <ac:spMk id="46" creationId="{C7C16791-B54D-32B7-3E22-4B159FC06AB9}"/>
          </ac:spMkLst>
        </pc:spChg>
        <pc:spChg chg="add del mod ord replST">
          <ac:chgData name="Ziegler, Moritz" userId="64963377-0688-41ce-81de-c3adb053cc9f" providerId="ADAL" clId="{C7251E8A-7365-43BF-B47E-FD3F767F1384}" dt="2023-04-19T10:17:32.536" v="1832"/>
          <ac:spMkLst>
            <pc:docMk/>
            <pc:sldMk cId="4000344322" sldId="2147470695"/>
            <ac:spMk id="47" creationId="{3313C7B1-A072-41B3-1ED9-B5271E65DA7C}"/>
          </ac:spMkLst>
        </pc:spChg>
        <pc:spChg chg="add del mod replST">
          <ac:chgData name="Ziegler, Moritz" userId="64963377-0688-41ce-81de-c3adb053cc9f" providerId="ADAL" clId="{C7251E8A-7365-43BF-B47E-FD3F767F1384}" dt="2023-04-19T10:17:12.656" v="1469"/>
          <ac:spMkLst>
            <pc:docMk/>
            <pc:sldMk cId="4000344322" sldId="2147470695"/>
            <ac:spMk id="48" creationId="{ADC26FB8-E733-1523-ED52-3E827CE72D9A}"/>
          </ac:spMkLst>
        </pc:spChg>
        <pc:spChg chg="add del mod replST">
          <ac:chgData name="Ziegler, Moritz" userId="64963377-0688-41ce-81de-c3adb053cc9f" providerId="ADAL" clId="{C7251E8A-7365-43BF-B47E-FD3F767F1384}" dt="2023-04-19T10:17:12.664" v="1486"/>
          <ac:spMkLst>
            <pc:docMk/>
            <pc:sldMk cId="4000344322" sldId="2147470695"/>
            <ac:spMk id="49" creationId="{6CB972B3-788F-0944-70BF-DE9C1C925A77}"/>
          </ac:spMkLst>
        </pc:spChg>
        <pc:spChg chg="add del mod replST">
          <ac:chgData name="Ziegler, Moritz" userId="64963377-0688-41ce-81de-c3adb053cc9f" providerId="ADAL" clId="{C7251E8A-7365-43BF-B47E-FD3F767F1384}" dt="2023-04-19T10:17:12.675" v="1515"/>
          <ac:spMkLst>
            <pc:docMk/>
            <pc:sldMk cId="4000344322" sldId="2147470695"/>
            <ac:spMk id="50" creationId="{5E3DC45B-145B-D798-1425-EFA0929CB9C4}"/>
          </ac:spMkLst>
        </pc:spChg>
        <pc:spChg chg="add mod replST">
          <ac:chgData name="Ziegler, Moritz" userId="64963377-0688-41ce-81de-c3adb053cc9f" providerId="ADAL" clId="{C7251E8A-7365-43BF-B47E-FD3F767F1384}" dt="2023-04-19T11:08:45.404" v="18492"/>
          <ac:spMkLst>
            <pc:docMk/>
            <pc:sldMk cId="4000344322" sldId="2147470695"/>
            <ac:spMk id="57" creationId="{18AE6837-065A-CF31-09BA-E9509D68474A}"/>
          </ac:spMkLst>
        </pc:spChg>
        <pc:spChg chg="add del mod replST">
          <ac:chgData name="Ziegler, Moritz" userId="64963377-0688-41ce-81de-c3adb053cc9f" providerId="ADAL" clId="{C7251E8A-7365-43BF-B47E-FD3F767F1384}" dt="2023-04-19T10:57:06.251" v="11634"/>
          <ac:spMkLst>
            <pc:docMk/>
            <pc:sldMk cId="4000344322" sldId="2147470695"/>
            <ac:spMk id="58" creationId="{9143F6C7-5D93-3ED4-A2C2-BC239537CACC}"/>
          </ac:spMkLst>
        </pc:spChg>
        <pc:spChg chg="add del mod replST">
          <ac:chgData name="Ziegler, Moritz" userId="64963377-0688-41ce-81de-c3adb053cc9f" providerId="ADAL" clId="{C7251E8A-7365-43BF-B47E-FD3F767F1384}" dt="2023-04-19T10:57:06.251" v="11629"/>
          <ac:spMkLst>
            <pc:docMk/>
            <pc:sldMk cId="4000344322" sldId="2147470695"/>
            <ac:spMk id="59" creationId="{75230E4B-36E2-A695-4253-64A0BFEC5B69}"/>
          </ac:spMkLst>
        </pc:spChg>
        <pc:spChg chg="add del mod ord replST">
          <ac:chgData name="Ziegler, Moritz" userId="64963377-0688-41ce-81de-c3adb053cc9f" providerId="ADAL" clId="{C7251E8A-7365-43BF-B47E-FD3F767F1384}" dt="2023-04-19T10:57:06.256" v="11652"/>
          <ac:spMkLst>
            <pc:docMk/>
            <pc:sldMk cId="4000344322" sldId="2147470695"/>
            <ac:spMk id="60" creationId="{E786F84A-9D6B-4105-37FB-D0AF47559B95}"/>
          </ac:spMkLst>
        </pc:spChg>
        <pc:spChg chg="add del mod replST">
          <ac:chgData name="Ziegler, Moritz" userId="64963377-0688-41ce-81de-c3adb053cc9f" providerId="ADAL" clId="{C7251E8A-7365-43BF-B47E-FD3F767F1384}" dt="2023-04-19T10:58:30.174" v="14088"/>
          <ac:spMkLst>
            <pc:docMk/>
            <pc:sldMk cId="4000344322" sldId="2147470695"/>
            <ac:spMk id="61" creationId="{314D319E-612D-D6CE-68A4-DBC1B4C6CD5A}"/>
          </ac:spMkLst>
        </pc:spChg>
        <pc:spChg chg="add mod replST">
          <ac:chgData name="Ziegler, Moritz" userId="64963377-0688-41ce-81de-c3adb053cc9f" providerId="ADAL" clId="{C7251E8A-7365-43BF-B47E-FD3F767F1384}" dt="2023-04-19T11:08:45.403" v="18491"/>
          <ac:spMkLst>
            <pc:docMk/>
            <pc:sldMk cId="4000344322" sldId="2147470695"/>
            <ac:spMk id="62" creationId="{0E3E540B-AAB0-C792-C6C7-87794AB482CB}"/>
          </ac:spMkLst>
        </pc:spChg>
        <pc:spChg chg="add del mod replST">
          <ac:chgData name="Ziegler, Moritz" userId="64963377-0688-41ce-81de-c3adb053cc9f" providerId="ADAL" clId="{C7251E8A-7365-43BF-B47E-FD3F767F1384}" dt="2023-04-19T10:57:06.249" v="11625"/>
          <ac:spMkLst>
            <pc:docMk/>
            <pc:sldMk cId="4000344322" sldId="2147470695"/>
            <ac:spMk id="63" creationId="{9DEE204D-952E-1DB1-36BF-DCB4493275FF}"/>
          </ac:spMkLst>
        </pc:spChg>
        <pc:spChg chg="add del mod replST">
          <ac:chgData name="Ziegler, Moritz" userId="64963377-0688-41ce-81de-c3adb053cc9f" providerId="ADAL" clId="{C7251E8A-7365-43BF-B47E-FD3F767F1384}" dt="2023-04-19T10:57:06.251" v="11630"/>
          <ac:spMkLst>
            <pc:docMk/>
            <pc:sldMk cId="4000344322" sldId="2147470695"/>
            <ac:spMk id="64" creationId="{115BD3D7-44BA-C579-2C1A-94E0EEF7C2F1}"/>
          </ac:spMkLst>
        </pc:spChg>
        <pc:spChg chg="add mod replST">
          <ac:chgData name="Ziegler, Moritz" userId="64963377-0688-41ce-81de-c3adb053cc9f" providerId="ADAL" clId="{C7251E8A-7365-43BF-B47E-FD3F767F1384}" dt="2023-04-19T11:08:45.403" v="18490"/>
          <ac:spMkLst>
            <pc:docMk/>
            <pc:sldMk cId="4000344322" sldId="2147470695"/>
            <ac:spMk id="65" creationId="{8B4A110E-E3CC-B801-3864-B78FD5D1E3DC}"/>
          </ac:spMkLst>
        </pc:spChg>
        <pc:spChg chg="add del mod ord replST">
          <ac:chgData name="Ziegler, Moritz" userId="64963377-0688-41ce-81de-c3adb053cc9f" providerId="ADAL" clId="{C7251E8A-7365-43BF-B47E-FD3F767F1384}" dt="2023-04-19T10:57:06.249" v="11626"/>
          <ac:spMkLst>
            <pc:docMk/>
            <pc:sldMk cId="4000344322" sldId="2147470695"/>
            <ac:spMk id="66" creationId="{53A7917D-B5D5-EB9B-8425-5972D8F49571}"/>
          </ac:spMkLst>
        </pc:spChg>
        <pc:spChg chg="add del mod replST">
          <ac:chgData name="Ziegler, Moritz" userId="64963377-0688-41ce-81de-c3adb053cc9f" providerId="ADAL" clId="{C7251E8A-7365-43BF-B47E-FD3F767F1384}" dt="2023-04-19T10:58:30.175" v="14094"/>
          <ac:spMkLst>
            <pc:docMk/>
            <pc:sldMk cId="4000344322" sldId="2147470695"/>
            <ac:spMk id="67" creationId="{82397434-71D0-F36C-5A62-032F2F9631D2}"/>
          </ac:spMkLst>
        </pc:spChg>
        <pc:spChg chg="add del mod ord replST">
          <ac:chgData name="Ziegler, Moritz" userId="64963377-0688-41ce-81de-c3adb053cc9f" providerId="ADAL" clId="{C7251E8A-7365-43BF-B47E-FD3F767F1384}" dt="2023-04-19T10:57:06.251" v="11632"/>
          <ac:spMkLst>
            <pc:docMk/>
            <pc:sldMk cId="4000344322" sldId="2147470695"/>
            <ac:spMk id="68" creationId="{2DD44BCE-9BCF-39DB-8C5C-094CF3F8FB86}"/>
          </ac:spMkLst>
        </pc:spChg>
        <pc:spChg chg="add del mod ord replST">
          <ac:chgData name="Ziegler, Moritz" userId="64963377-0688-41ce-81de-c3adb053cc9f" providerId="ADAL" clId="{C7251E8A-7365-43BF-B47E-FD3F767F1384}" dt="2023-04-19T10:57:06.254" v="11640"/>
          <ac:spMkLst>
            <pc:docMk/>
            <pc:sldMk cId="4000344322" sldId="2147470695"/>
            <ac:spMk id="69" creationId="{1252624E-670B-5D35-0EED-0B36DE42CCC0}"/>
          </ac:spMkLst>
        </pc:spChg>
        <pc:spChg chg="add del mod ord replST">
          <ac:chgData name="Ziegler, Moritz" userId="64963377-0688-41ce-81de-c3adb053cc9f" providerId="ADAL" clId="{C7251E8A-7365-43BF-B47E-FD3F767F1384}" dt="2023-04-19T10:57:06.256" v="11650"/>
          <ac:spMkLst>
            <pc:docMk/>
            <pc:sldMk cId="4000344322" sldId="2147470695"/>
            <ac:spMk id="70" creationId="{C8F404AE-E4F7-C170-2217-CC43616559C7}"/>
          </ac:spMkLst>
        </pc:spChg>
        <pc:spChg chg="add mod replST">
          <ac:chgData name="Ziegler, Moritz" userId="64963377-0688-41ce-81de-c3adb053cc9f" providerId="ADAL" clId="{C7251E8A-7365-43BF-B47E-FD3F767F1384}" dt="2023-04-19T11:08:45.403" v="18488"/>
          <ac:spMkLst>
            <pc:docMk/>
            <pc:sldMk cId="4000344322" sldId="2147470695"/>
            <ac:spMk id="71" creationId="{D480383D-0FAC-7DCC-D098-718C3F6B339A}"/>
          </ac:spMkLst>
        </pc:spChg>
        <pc:spChg chg="add del mod replST">
          <ac:chgData name="Ziegler, Moritz" userId="64963377-0688-41ce-81de-c3adb053cc9f" providerId="ADAL" clId="{C7251E8A-7365-43BF-B47E-FD3F767F1384}" dt="2023-04-19T10:57:06.249" v="11628"/>
          <ac:spMkLst>
            <pc:docMk/>
            <pc:sldMk cId="4000344322" sldId="2147470695"/>
            <ac:spMk id="72" creationId="{C5EA205D-6BE3-4F06-5742-2DFB962DD8F8}"/>
          </ac:spMkLst>
        </pc:spChg>
        <pc:spChg chg="add del mod replST">
          <ac:chgData name="Ziegler, Moritz" userId="64963377-0688-41ce-81de-c3adb053cc9f" providerId="ADAL" clId="{C7251E8A-7365-43BF-B47E-FD3F767F1384}" dt="2023-04-19T10:17:42.139" v="3225"/>
          <ac:spMkLst>
            <pc:docMk/>
            <pc:sldMk cId="4000344322" sldId="2147470695"/>
            <ac:spMk id="73" creationId="{E25D1EB3-E9D6-329B-E44F-0ABBE29F7734}"/>
          </ac:spMkLst>
        </pc:spChg>
        <pc:spChg chg="add del mod ord replST">
          <ac:chgData name="Ziegler, Moritz" userId="64963377-0688-41ce-81de-c3adb053cc9f" providerId="ADAL" clId="{C7251E8A-7365-43BF-B47E-FD3F767F1384}" dt="2023-04-19T10:57:06.249" v="11624"/>
          <ac:spMkLst>
            <pc:docMk/>
            <pc:sldMk cId="4000344322" sldId="2147470695"/>
            <ac:spMk id="74" creationId="{B71D9BA9-63E7-E419-095C-0CA7B02E7648}"/>
          </ac:spMkLst>
        </pc:spChg>
        <pc:spChg chg="add del mod ord replST">
          <ac:chgData name="Ziegler, Moritz" userId="64963377-0688-41ce-81de-c3adb053cc9f" providerId="ADAL" clId="{C7251E8A-7365-43BF-B47E-FD3F767F1384}" dt="2023-04-19T10:57:06.253" v="11638"/>
          <ac:spMkLst>
            <pc:docMk/>
            <pc:sldMk cId="4000344322" sldId="2147470695"/>
            <ac:spMk id="75" creationId="{D3B94157-1B4B-44C4-10B8-BAAC582993A4}"/>
          </ac:spMkLst>
        </pc:spChg>
        <pc:spChg chg="add mod replST">
          <ac:chgData name="Ziegler, Moritz" userId="64963377-0688-41ce-81de-c3adb053cc9f" providerId="ADAL" clId="{C7251E8A-7365-43BF-B47E-FD3F767F1384}" dt="2023-04-19T11:08:45.404" v="18493"/>
          <ac:spMkLst>
            <pc:docMk/>
            <pc:sldMk cId="4000344322" sldId="2147470695"/>
            <ac:spMk id="76" creationId="{C6B1A32F-FF00-7248-E696-B16248D75B13}"/>
          </ac:spMkLst>
        </pc:spChg>
        <pc:spChg chg="add del mod replST">
          <ac:chgData name="Ziegler, Moritz" userId="64963377-0688-41ce-81de-c3adb053cc9f" providerId="ADAL" clId="{C7251E8A-7365-43BF-B47E-FD3F767F1384}" dt="2023-04-19T10:58:30.171" v="14079"/>
          <ac:spMkLst>
            <pc:docMk/>
            <pc:sldMk cId="4000344322" sldId="2147470695"/>
            <ac:spMk id="77" creationId="{B6E33F7D-7ADA-5C23-BDF7-48F334D06FF9}"/>
          </ac:spMkLst>
        </pc:spChg>
        <pc:spChg chg="add del mod replST">
          <ac:chgData name="Ziegler, Moritz" userId="64963377-0688-41ce-81de-c3adb053cc9f" providerId="ADAL" clId="{C7251E8A-7365-43BF-B47E-FD3F767F1384}" dt="2023-04-19T10:17:42.129" v="3195"/>
          <ac:spMkLst>
            <pc:docMk/>
            <pc:sldMk cId="4000344322" sldId="2147470695"/>
            <ac:spMk id="78" creationId="{69EF9F81-7E90-CC22-B5E5-C3A72ECDACEF}"/>
          </ac:spMkLst>
        </pc:spChg>
        <pc:spChg chg="add del mod ord replST">
          <ac:chgData name="Ziegler, Moritz" userId="64963377-0688-41ce-81de-c3adb053cc9f" providerId="ADAL" clId="{C7251E8A-7365-43BF-B47E-FD3F767F1384}" dt="2023-04-19T10:57:06.254" v="11648"/>
          <ac:spMkLst>
            <pc:docMk/>
            <pc:sldMk cId="4000344322" sldId="2147470695"/>
            <ac:spMk id="79" creationId="{E9B26F8F-F3D8-B55F-03B9-7ED2470AAA7B}"/>
          </ac:spMkLst>
        </pc:spChg>
        <pc:spChg chg="add del mod replST">
          <ac:chgData name="Ziegler, Moritz" userId="64963377-0688-41ce-81de-c3adb053cc9f" providerId="ADAL" clId="{C7251E8A-7365-43BF-B47E-FD3F767F1384}" dt="2023-04-19T10:58:30.176" v="14097"/>
          <ac:spMkLst>
            <pc:docMk/>
            <pc:sldMk cId="4000344322" sldId="2147470695"/>
            <ac:spMk id="80" creationId="{545F738E-72F2-FBF4-38A7-EC5D1E358F9F}"/>
          </ac:spMkLst>
        </pc:spChg>
        <pc:spChg chg="add del mod replST">
          <ac:chgData name="Ziegler, Moritz" userId="64963377-0688-41ce-81de-c3adb053cc9f" providerId="ADAL" clId="{C7251E8A-7365-43BF-B47E-FD3F767F1384}" dt="2023-04-19T10:58:30.173" v="14085"/>
          <ac:spMkLst>
            <pc:docMk/>
            <pc:sldMk cId="4000344322" sldId="2147470695"/>
            <ac:spMk id="81" creationId="{D136A748-84F2-2F6D-CC79-98D0ADB8447B}"/>
          </ac:spMkLst>
        </pc:spChg>
        <pc:spChg chg="add del mod replST">
          <ac:chgData name="Ziegler, Moritz" userId="64963377-0688-41ce-81de-c3adb053cc9f" providerId="ADAL" clId="{C7251E8A-7365-43BF-B47E-FD3F767F1384}" dt="2023-04-19T10:17:42.135" v="3214"/>
          <ac:spMkLst>
            <pc:docMk/>
            <pc:sldMk cId="4000344322" sldId="2147470695"/>
            <ac:spMk id="82" creationId="{C877888E-9512-DA06-557C-89EE8D2E89AC}"/>
          </ac:spMkLst>
        </pc:spChg>
        <pc:spChg chg="add del mod replST">
          <ac:chgData name="Ziegler, Moritz" userId="64963377-0688-41ce-81de-c3adb053cc9f" providerId="ADAL" clId="{C7251E8A-7365-43BF-B47E-FD3F767F1384}" dt="2023-04-19T10:58:30.175" v="14091"/>
          <ac:spMkLst>
            <pc:docMk/>
            <pc:sldMk cId="4000344322" sldId="2147470695"/>
            <ac:spMk id="83" creationId="{05454490-FAEF-C826-1A0A-F6435D3B7450}"/>
          </ac:spMkLst>
        </pc:spChg>
        <pc:spChg chg="add del mod replST">
          <ac:chgData name="Ziegler, Moritz" userId="64963377-0688-41ce-81de-c3adb053cc9f" providerId="ADAL" clId="{C7251E8A-7365-43BF-B47E-FD3F767F1384}" dt="2023-04-19T10:58:30.172" v="14082"/>
          <ac:spMkLst>
            <pc:docMk/>
            <pc:sldMk cId="4000344322" sldId="2147470695"/>
            <ac:spMk id="84" creationId="{15AE4C6B-0967-8680-AB9F-22C5FD5B1945}"/>
          </ac:spMkLst>
        </pc:spChg>
        <pc:spChg chg="add del mod ord replST">
          <ac:chgData name="Ziegler, Moritz" userId="64963377-0688-41ce-81de-c3adb053cc9f" providerId="ADAL" clId="{C7251E8A-7365-43BF-B47E-FD3F767F1384}" dt="2023-04-19T10:57:06.249" v="11627"/>
          <ac:spMkLst>
            <pc:docMk/>
            <pc:sldMk cId="4000344322" sldId="2147470695"/>
            <ac:spMk id="85" creationId="{15561FBE-E21E-EA56-F5DA-9944D1A92313}"/>
          </ac:spMkLst>
        </pc:spChg>
        <pc:spChg chg="add del mod replST">
          <ac:chgData name="Ziegler, Moritz" userId="64963377-0688-41ce-81de-c3adb053cc9f" providerId="ADAL" clId="{C7251E8A-7365-43BF-B47E-FD3F767F1384}" dt="2023-04-19T10:57:06.247" v="11622"/>
          <ac:spMkLst>
            <pc:docMk/>
            <pc:sldMk cId="4000344322" sldId="2147470695"/>
            <ac:spMk id="86" creationId="{A52FE9F4-AB45-8953-925B-4F0BCB102D47}"/>
          </ac:spMkLst>
        </pc:spChg>
        <pc:spChg chg="add del mod replST">
          <ac:chgData name="Ziegler, Moritz" userId="64963377-0688-41ce-81de-c3adb053cc9f" providerId="ADAL" clId="{C7251E8A-7365-43BF-B47E-FD3F767F1384}" dt="2023-04-19T10:57:06.251" v="11631"/>
          <ac:spMkLst>
            <pc:docMk/>
            <pc:sldMk cId="4000344322" sldId="2147470695"/>
            <ac:spMk id="87" creationId="{968F6CB5-1F32-1714-FA54-61A4E45AE885}"/>
          </ac:spMkLst>
        </pc:spChg>
        <pc:spChg chg="add del mod replST">
          <ac:chgData name="Ziegler, Moritz" userId="64963377-0688-41ce-81de-c3adb053cc9f" providerId="ADAL" clId="{C7251E8A-7365-43BF-B47E-FD3F767F1384}" dt="2023-04-19T10:17:42.122" v="3176"/>
          <ac:spMkLst>
            <pc:docMk/>
            <pc:sldMk cId="4000344322" sldId="2147470695"/>
            <ac:spMk id="88" creationId="{F462E240-CFC0-D905-0CA0-7BCBA3586606}"/>
          </ac:spMkLst>
        </pc:spChg>
        <pc:spChg chg="add del mod ord replST">
          <ac:chgData name="Ziegler, Moritz" userId="64963377-0688-41ce-81de-c3adb053cc9f" providerId="ADAL" clId="{C7251E8A-7365-43BF-B47E-FD3F767F1384}" dt="2023-04-19T10:57:06.254" v="11644"/>
          <ac:spMkLst>
            <pc:docMk/>
            <pc:sldMk cId="4000344322" sldId="2147470695"/>
            <ac:spMk id="89" creationId="{E2EE60F1-9C20-21B2-1798-2F8E2219FCA7}"/>
          </ac:spMkLst>
        </pc:spChg>
        <pc:spChg chg="del">
          <ac:chgData name="Ziegler, Moritz" userId="64963377-0688-41ce-81de-c3adb053cc9f" providerId="ADAL" clId="{C7251E8A-7365-43BF-B47E-FD3F767F1384}" dt="2023-04-19T10:17:08.171" v="23"/>
          <ac:spMkLst>
            <pc:docMk/>
            <pc:sldMk cId="4000344322" sldId="2147470695"/>
            <ac:spMk id="90" creationId="{F3A34782-E3A2-CF42-9904-29EE5398AD9A}"/>
          </ac:spMkLst>
        </pc:spChg>
        <pc:spChg chg="add del mod ord replST">
          <ac:chgData name="Ziegler, Moritz" userId="64963377-0688-41ce-81de-c3adb053cc9f" providerId="ADAL" clId="{C7251E8A-7365-43BF-B47E-FD3F767F1384}" dt="2023-04-19T10:57:06.251" v="11636"/>
          <ac:spMkLst>
            <pc:docMk/>
            <pc:sldMk cId="4000344322" sldId="2147470695"/>
            <ac:spMk id="91" creationId="{A2C32480-2C44-B0E2-7E04-E0D665B0A1FD}"/>
          </ac:spMkLst>
        </pc:spChg>
        <pc:spChg chg="add del mod replST">
          <ac:chgData name="Ziegler, Moritz" userId="64963377-0688-41ce-81de-c3adb053cc9f" providerId="ADAL" clId="{C7251E8A-7365-43BF-B47E-FD3F767F1384}" dt="2023-04-19T10:57:06.251" v="11633"/>
          <ac:spMkLst>
            <pc:docMk/>
            <pc:sldMk cId="4000344322" sldId="2147470695"/>
            <ac:spMk id="92" creationId="{CDD070DA-0160-D278-1BA4-90C70A404741}"/>
          </ac:spMkLst>
        </pc:spChg>
        <pc:spChg chg="add del mod modVis">
          <ac:chgData name="Ziegler, Moritz" userId="64963377-0688-41ce-81de-c3adb053cc9f" providerId="ADAL" clId="{C7251E8A-7365-43BF-B47E-FD3F767F1384}" dt="2023-04-19T10:17:10.486" v="1410"/>
          <ac:spMkLst>
            <pc:docMk/>
            <pc:sldMk cId="4000344322" sldId="2147470695"/>
            <ac:spMk id="93" creationId="{8A205C54-BCBF-5EB6-EFAF-DFD0A6B98B9D}"/>
          </ac:spMkLst>
        </pc:spChg>
        <pc:spChg chg="add del mod modVis">
          <ac:chgData name="Ziegler, Moritz" userId="64963377-0688-41ce-81de-c3adb053cc9f" providerId="ADAL" clId="{C7251E8A-7365-43BF-B47E-FD3F767F1384}" dt="2023-04-19T10:17:12.800" v="1818"/>
          <ac:spMkLst>
            <pc:docMk/>
            <pc:sldMk cId="4000344322" sldId="2147470695"/>
            <ac:spMk id="95" creationId="{779BA4B1-5BEF-6A66-D3B8-2C3A8DDA3A87}"/>
          </ac:spMkLst>
        </pc:spChg>
        <pc:spChg chg="add del mod replST">
          <ac:chgData name="Ziegler, Moritz" userId="64963377-0688-41ce-81de-c3adb053cc9f" providerId="ADAL" clId="{C7251E8A-7365-43BF-B47E-FD3F767F1384}" dt="2023-04-19T10:17:32.535" v="1828"/>
          <ac:spMkLst>
            <pc:docMk/>
            <pc:sldMk cId="4000344322" sldId="2147470695"/>
            <ac:spMk id="96" creationId="{4AAD3C7A-8633-AFA2-48D1-75B12DD5047B}"/>
          </ac:spMkLst>
        </pc:spChg>
        <pc:spChg chg="add del mod replST">
          <ac:chgData name="Ziegler, Moritz" userId="64963377-0688-41ce-81de-c3adb053cc9f" providerId="ADAL" clId="{C7251E8A-7365-43BF-B47E-FD3F767F1384}" dt="2023-04-19T10:17:32.535" v="1827"/>
          <ac:spMkLst>
            <pc:docMk/>
            <pc:sldMk cId="4000344322" sldId="2147470695"/>
            <ac:spMk id="97" creationId="{CB72C5F9-AE9F-371A-0B9C-404F1667EABE}"/>
          </ac:spMkLst>
        </pc:spChg>
        <pc:spChg chg="add del mod ord replST">
          <ac:chgData name="Ziegler, Moritz" userId="64963377-0688-41ce-81de-c3adb053cc9f" providerId="ADAL" clId="{C7251E8A-7365-43BF-B47E-FD3F767F1384}" dt="2023-04-19T10:17:32.534" v="1826"/>
          <ac:spMkLst>
            <pc:docMk/>
            <pc:sldMk cId="4000344322" sldId="2147470695"/>
            <ac:spMk id="98" creationId="{FA7A0C3F-2AF0-AFB1-6B6D-CB0ADC14F25C}"/>
          </ac:spMkLst>
        </pc:spChg>
        <pc:spChg chg="add del mod replST">
          <ac:chgData name="Ziegler, Moritz" userId="64963377-0688-41ce-81de-c3adb053cc9f" providerId="ADAL" clId="{C7251E8A-7365-43BF-B47E-FD3F767F1384}" dt="2023-04-19T10:17:32.533" v="1824"/>
          <ac:spMkLst>
            <pc:docMk/>
            <pc:sldMk cId="4000344322" sldId="2147470695"/>
            <ac:spMk id="99" creationId="{526142E6-E544-BC51-8A1E-FB0B14DD47D6}"/>
          </ac:spMkLst>
        </pc:spChg>
        <pc:spChg chg="add del mod replST">
          <ac:chgData name="Ziegler, Moritz" userId="64963377-0688-41ce-81de-c3adb053cc9f" providerId="ADAL" clId="{C7251E8A-7365-43BF-B47E-FD3F767F1384}" dt="2023-04-19T10:17:32.532" v="1823"/>
          <ac:spMkLst>
            <pc:docMk/>
            <pc:sldMk cId="4000344322" sldId="2147470695"/>
            <ac:spMk id="100" creationId="{C67928A6-8088-6249-D5AE-FFAD7466FA35}"/>
          </ac:spMkLst>
        </pc:spChg>
        <pc:spChg chg="add del mod ord replST">
          <ac:chgData name="Ziegler, Moritz" userId="64963377-0688-41ce-81de-c3adb053cc9f" providerId="ADAL" clId="{C7251E8A-7365-43BF-B47E-FD3F767F1384}" dt="2023-04-19T10:17:32.532" v="1822"/>
          <ac:spMkLst>
            <pc:docMk/>
            <pc:sldMk cId="4000344322" sldId="2147470695"/>
            <ac:spMk id="101" creationId="{BC53AB9A-C9BC-1671-09E9-473B144852C3}"/>
          </ac:spMkLst>
        </pc:spChg>
        <pc:spChg chg="add del mod modVis">
          <ac:chgData name="Ziegler, Moritz" userId="64963377-0688-41ce-81de-c3adb053cc9f" providerId="ADAL" clId="{C7251E8A-7365-43BF-B47E-FD3F767F1384}" dt="2023-04-19T10:17:32.795" v="2266"/>
          <ac:spMkLst>
            <pc:docMk/>
            <pc:sldMk cId="4000344322" sldId="2147470695"/>
            <ac:spMk id="103" creationId="{679240DC-CDCC-D040-FB64-F7A8D8A2035E}"/>
          </ac:spMkLst>
        </pc:spChg>
        <pc:spChg chg="add del mod replST">
          <ac:chgData name="Ziegler, Moritz" userId="64963377-0688-41ce-81de-c3adb053cc9f" providerId="ADAL" clId="{C7251E8A-7365-43BF-B47E-FD3F767F1384}" dt="2023-04-19T10:52:00.163" v="4662"/>
          <ac:spMkLst>
            <pc:docMk/>
            <pc:sldMk cId="4000344322" sldId="2147470695"/>
            <ac:spMk id="104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17:37.653" v="2947"/>
          <ac:spMkLst>
            <pc:docMk/>
            <pc:sldMk cId="4000344322" sldId="2147470695"/>
            <ac:spMk id="106" creationId="{CCA534F6-5747-6D51-4AD8-20047E3F95A2}"/>
          </ac:spMkLst>
        </pc:spChg>
        <pc:spChg chg="add del mod ord replST">
          <ac:chgData name="Ziegler, Moritz" userId="64963377-0688-41ce-81de-c3adb053cc9f" providerId="ADAL" clId="{C7251E8A-7365-43BF-B47E-FD3F767F1384}" dt="2023-04-19T10:51:52.280" v="4109"/>
          <ac:spMkLst>
            <pc:docMk/>
            <pc:sldMk cId="4000344322" sldId="2147470695"/>
            <ac:spMk id="107" creationId="{F3A34782-E3A2-CF42-9904-29EE5398AD9A}"/>
          </ac:spMkLst>
        </pc:spChg>
        <pc:spChg chg="add del mod replST">
          <ac:chgData name="Ziegler, Moritz" userId="64963377-0688-41ce-81de-c3adb053cc9f" providerId="ADAL" clId="{C7251E8A-7365-43BF-B47E-FD3F767F1384}" dt="2023-04-19T10:52:00.161" v="4656"/>
          <ac:spMkLst>
            <pc:docMk/>
            <pc:sldMk cId="4000344322" sldId="2147470695"/>
            <ac:spMk id="108" creationId="{F3A34782-E3A2-CF42-9904-29EE5398AD9A}"/>
          </ac:spMkLst>
        </pc:spChg>
        <pc:spChg chg="add del mod replST">
          <ac:chgData name="Ziegler, Moritz" userId="64963377-0688-41ce-81de-c3adb053cc9f" providerId="ADAL" clId="{C7251E8A-7365-43BF-B47E-FD3F767F1384}" dt="2023-04-19T10:52:00.162" v="4659"/>
          <ac:spMkLst>
            <pc:docMk/>
            <pc:sldMk cId="4000344322" sldId="2147470695"/>
            <ac:spMk id="109" creationId="{F3A34782-E3A2-CF42-9904-29EE5398AD9A}"/>
          </ac:spMkLst>
        </pc:spChg>
        <pc:spChg chg="add del mod replST">
          <ac:chgData name="Ziegler, Moritz" userId="64963377-0688-41ce-81de-c3adb053cc9f" providerId="ADAL" clId="{C7251E8A-7365-43BF-B47E-FD3F767F1384}" dt="2023-04-19T10:52:00.162" v="4660"/>
          <ac:spMkLst>
            <pc:docMk/>
            <pc:sldMk cId="4000344322" sldId="2147470695"/>
            <ac:spMk id="110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17:42.190" v="3350"/>
          <ac:spMkLst>
            <pc:docMk/>
            <pc:sldMk cId="4000344322" sldId="2147470695"/>
            <ac:spMk id="112" creationId="{8F7F9E71-5199-513E-637A-3B8EB9BB880E}"/>
          </ac:spMkLst>
        </pc:spChg>
        <pc:spChg chg="add del mod replST">
          <ac:chgData name="Ziegler, Moritz" userId="64963377-0688-41ce-81de-c3adb053cc9f" providerId="ADAL" clId="{C7251E8A-7365-43BF-B47E-FD3F767F1384}" dt="2023-04-19T10:52:00.162" v="4657"/>
          <ac:spMkLst>
            <pc:docMk/>
            <pc:sldMk cId="4000344322" sldId="2147470695"/>
            <ac:spMk id="113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17:45.040" v="3674"/>
          <ac:spMkLst>
            <pc:docMk/>
            <pc:sldMk cId="4000344322" sldId="2147470695"/>
            <ac:spMk id="115" creationId="{D277B034-703E-BA0E-DD74-B3DA0F46E440}"/>
          </ac:spMkLst>
        </pc:spChg>
        <pc:spChg chg="add del mod modVis">
          <ac:chgData name="Ziegler, Moritz" userId="64963377-0688-41ce-81de-c3adb053cc9f" providerId="ADAL" clId="{C7251E8A-7365-43BF-B47E-FD3F767F1384}" dt="2023-04-19T10:51:50.843" v="3952"/>
          <ac:spMkLst>
            <pc:docMk/>
            <pc:sldMk cId="4000344322" sldId="2147470695"/>
            <ac:spMk id="117" creationId="{9C3F6620-8440-072A-9789-10484DACF54D}"/>
          </ac:spMkLst>
        </pc:spChg>
        <pc:spChg chg="add del mod modVis">
          <ac:chgData name="Ziegler, Moritz" userId="64963377-0688-41ce-81de-c3adb053cc9f" providerId="ADAL" clId="{C7251E8A-7365-43BF-B47E-FD3F767F1384}" dt="2023-04-19T10:51:52.339" v="4272"/>
          <ac:spMkLst>
            <pc:docMk/>
            <pc:sldMk cId="4000344322" sldId="2147470695"/>
            <ac:spMk id="119" creationId="{ED47C80C-E93A-BB53-89FE-0AD61F6E4B80}"/>
          </ac:spMkLst>
        </pc:spChg>
        <pc:spChg chg="add del mod modVis">
          <ac:chgData name="Ziegler, Moritz" userId="64963377-0688-41ce-81de-c3adb053cc9f" providerId="ADAL" clId="{C7251E8A-7365-43BF-B47E-FD3F767F1384}" dt="2023-04-19T10:51:56.177" v="4463"/>
          <ac:spMkLst>
            <pc:docMk/>
            <pc:sldMk cId="4000344322" sldId="2147470695"/>
            <ac:spMk id="121" creationId="{0AB2B441-2E9D-376D-DF4E-075301465734}"/>
          </ac:spMkLst>
        </pc:spChg>
        <pc:spChg chg="add del mod modVis">
          <ac:chgData name="Ziegler, Moritz" userId="64963377-0688-41ce-81de-c3adb053cc9f" providerId="ADAL" clId="{C7251E8A-7365-43BF-B47E-FD3F767F1384}" dt="2023-04-19T10:51:59.630" v="4649"/>
          <ac:spMkLst>
            <pc:docMk/>
            <pc:sldMk cId="4000344322" sldId="2147470695"/>
            <ac:spMk id="123" creationId="{94789571-13D8-F432-4A87-4CBDD2F49D01}"/>
          </ac:spMkLst>
        </pc:spChg>
        <pc:spChg chg="add del mod modVis">
          <ac:chgData name="Ziegler, Moritz" userId="64963377-0688-41ce-81de-c3adb053cc9f" providerId="ADAL" clId="{C7251E8A-7365-43BF-B47E-FD3F767F1384}" dt="2023-04-19T10:52:09.796" v="5100"/>
          <ac:spMkLst>
            <pc:docMk/>
            <pc:sldMk cId="4000344322" sldId="2147470695"/>
            <ac:spMk id="126" creationId="{F2A3682D-68EC-5A96-516E-19DE902CC3A8}"/>
          </ac:spMkLst>
        </pc:spChg>
        <pc:spChg chg="add del mod modVis">
          <ac:chgData name="Ziegler, Moritz" userId="64963377-0688-41ce-81de-c3adb053cc9f" providerId="ADAL" clId="{C7251E8A-7365-43BF-B47E-FD3F767F1384}" dt="2023-04-19T10:52:16.499" v="5459"/>
          <ac:spMkLst>
            <pc:docMk/>
            <pc:sldMk cId="4000344322" sldId="2147470695"/>
            <ac:spMk id="129" creationId="{B125D868-2228-7D66-5920-38400BD91736}"/>
          </ac:spMkLst>
        </pc:spChg>
        <pc:spChg chg="add del mod modVis">
          <ac:chgData name="Ziegler, Moritz" userId="64963377-0688-41ce-81de-c3adb053cc9f" providerId="ADAL" clId="{C7251E8A-7365-43BF-B47E-FD3F767F1384}" dt="2023-04-19T10:53:56.618" v="5886"/>
          <ac:spMkLst>
            <pc:docMk/>
            <pc:sldMk cId="4000344322" sldId="2147470695"/>
            <ac:spMk id="133" creationId="{419A342B-1CF4-FD77-2E98-F5BF3675866F}"/>
          </ac:spMkLst>
        </pc:spChg>
        <pc:spChg chg="add del mod modVis">
          <ac:chgData name="Ziegler, Moritz" userId="64963377-0688-41ce-81de-c3adb053cc9f" providerId="ADAL" clId="{C7251E8A-7365-43BF-B47E-FD3F767F1384}" dt="2023-04-19T10:54:01.859" v="5957"/>
          <ac:spMkLst>
            <pc:docMk/>
            <pc:sldMk cId="4000344322" sldId="2147470695"/>
            <ac:spMk id="134" creationId="{D05FEA3A-A10C-906A-BDAD-B57A5DD872DA}"/>
          </ac:spMkLst>
        </pc:spChg>
        <pc:spChg chg="add del mod modVis">
          <ac:chgData name="Ziegler, Moritz" userId="64963377-0688-41ce-81de-c3adb053cc9f" providerId="ADAL" clId="{C7251E8A-7365-43BF-B47E-FD3F767F1384}" dt="2023-04-19T10:54:53.663" v="6310"/>
          <ac:spMkLst>
            <pc:docMk/>
            <pc:sldMk cId="4000344322" sldId="2147470695"/>
            <ac:spMk id="136" creationId="{26E3BACE-BD27-4478-3D7A-1D4F11755AA9}"/>
          </ac:spMkLst>
        </pc:spChg>
        <pc:spChg chg="add del mod modVis">
          <ac:chgData name="Ziegler, Moritz" userId="64963377-0688-41ce-81de-c3adb053cc9f" providerId="ADAL" clId="{C7251E8A-7365-43BF-B47E-FD3F767F1384}" dt="2023-04-19T10:54:57.763" v="6463"/>
          <ac:spMkLst>
            <pc:docMk/>
            <pc:sldMk cId="4000344322" sldId="2147470695"/>
            <ac:spMk id="138" creationId="{DF754471-FE24-0E3F-B399-C2B576DDC8AE}"/>
          </ac:spMkLst>
        </pc:spChg>
        <pc:spChg chg="add del mod modVis">
          <ac:chgData name="Ziegler, Moritz" userId="64963377-0688-41ce-81de-c3adb053cc9f" providerId="ADAL" clId="{C7251E8A-7365-43BF-B47E-FD3F767F1384}" dt="2023-04-19T10:54:59.419" v="6616"/>
          <ac:spMkLst>
            <pc:docMk/>
            <pc:sldMk cId="4000344322" sldId="2147470695"/>
            <ac:spMk id="140" creationId="{4A0F7FAC-EE95-8A9B-47EA-D7FA3D5D2B6D}"/>
          </ac:spMkLst>
        </pc:spChg>
        <pc:spChg chg="add del mod modVis">
          <ac:chgData name="Ziegler, Moritz" userId="64963377-0688-41ce-81de-c3adb053cc9f" providerId="ADAL" clId="{C7251E8A-7365-43BF-B47E-FD3F767F1384}" dt="2023-04-19T10:55:01.163" v="6767"/>
          <ac:spMkLst>
            <pc:docMk/>
            <pc:sldMk cId="4000344322" sldId="2147470695"/>
            <ac:spMk id="142" creationId="{DCEB8DCA-ED13-FA81-45B2-107136C7DBED}"/>
          </ac:spMkLst>
        </pc:spChg>
        <pc:spChg chg="add del mod modVis">
          <ac:chgData name="Ziegler, Moritz" userId="64963377-0688-41ce-81de-c3adb053cc9f" providerId="ADAL" clId="{C7251E8A-7365-43BF-B47E-FD3F767F1384}" dt="2023-04-19T10:55:11.483" v="6920"/>
          <ac:spMkLst>
            <pc:docMk/>
            <pc:sldMk cId="4000344322" sldId="2147470695"/>
            <ac:spMk id="144" creationId="{DEBF8A26-E146-9448-D2B2-B36720F2C3FC}"/>
          </ac:spMkLst>
        </pc:spChg>
        <pc:spChg chg="add del mod modVis">
          <ac:chgData name="Ziegler, Moritz" userId="64963377-0688-41ce-81de-c3adb053cc9f" providerId="ADAL" clId="{C7251E8A-7365-43BF-B47E-FD3F767F1384}" dt="2023-04-19T10:55:32.236" v="7073"/>
          <ac:spMkLst>
            <pc:docMk/>
            <pc:sldMk cId="4000344322" sldId="2147470695"/>
            <ac:spMk id="146" creationId="{749B365E-7529-1A57-3797-0C7DCF0637E3}"/>
          </ac:spMkLst>
        </pc:spChg>
        <pc:spChg chg="add del mod modVis">
          <ac:chgData name="Ziegler, Moritz" userId="64963377-0688-41ce-81de-c3adb053cc9f" providerId="ADAL" clId="{C7251E8A-7365-43BF-B47E-FD3F767F1384}" dt="2023-04-19T10:55:34.675" v="7224"/>
          <ac:spMkLst>
            <pc:docMk/>
            <pc:sldMk cId="4000344322" sldId="2147470695"/>
            <ac:spMk id="148" creationId="{80AD6D60-89C1-F855-1FA5-D6B71EB3DF13}"/>
          </ac:spMkLst>
        </pc:spChg>
        <pc:spChg chg="add del mod modVis">
          <ac:chgData name="Ziegler, Moritz" userId="64963377-0688-41ce-81de-c3adb053cc9f" providerId="ADAL" clId="{C7251E8A-7365-43BF-B47E-FD3F767F1384}" dt="2023-04-19T10:55:37.706" v="7377"/>
          <ac:spMkLst>
            <pc:docMk/>
            <pc:sldMk cId="4000344322" sldId="2147470695"/>
            <ac:spMk id="150" creationId="{CE0C0233-31D1-DFA9-82D5-7CBAFE7F4C05}"/>
          </ac:spMkLst>
        </pc:spChg>
        <pc:spChg chg="add del mod modVis">
          <ac:chgData name="Ziegler, Moritz" userId="64963377-0688-41ce-81de-c3adb053cc9f" providerId="ADAL" clId="{C7251E8A-7365-43BF-B47E-FD3F767F1384}" dt="2023-04-19T10:55:40.308" v="7530"/>
          <ac:spMkLst>
            <pc:docMk/>
            <pc:sldMk cId="4000344322" sldId="2147470695"/>
            <ac:spMk id="152" creationId="{A8708063-6326-D3CC-F2A1-86FD0CFE1609}"/>
          </ac:spMkLst>
        </pc:spChg>
        <pc:spChg chg="add del mod modVis">
          <ac:chgData name="Ziegler, Moritz" userId="64963377-0688-41ce-81de-c3adb053cc9f" providerId="ADAL" clId="{C7251E8A-7365-43BF-B47E-FD3F767F1384}" dt="2023-04-19T10:55:43.454" v="7683"/>
          <ac:spMkLst>
            <pc:docMk/>
            <pc:sldMk cId="4000344322" sldId="2147470695"/>
            <ac:spMk id="154" creationId="{0C73BF85-46A3-5967-02D1-BD08484517A0}"/>
          </ac:spMkLst>
        </pc:spChg>
        <pc:spChg chg="add del mod modVis">
          <ac:chgData name="Ziegler, Moritz" userId="64963377-0688-41ce-81de-c3adb053cc9f" providerId="ADAL" clId="{C7251E8A-7365-43BF-B47E-FD3F767F1384}" dt="2023-04-19T10:55:46.405" v="7836"/>
          <ac:spMkLst>
            <pc:docMk/>
            <pc:sldMk cId="4000344322" sldId="2147470695"/>
            <ac:spMk id="156" creationId="{47CDEE7A-0ED5-3EA8-74DC-93D0CDAE594B}"/>
          </ac:spMkLst>
        </pc:spChg>
        <pc:spChg chg="add del mod modVis">
          <ac:chgData name="Ziegler, Moritz" userId="64963377-0688-41ce-81de-c3adb053cc9f" providerId="ADAL" clId="{C7251E8A-7365-43BF-B47E-FD3F767F1384}" dt="2023-04-19T10:55:48.662" v="7989"/>
          <ac:spMkLst>
            <pc:docMk/>
            <pc:sldMk cId="4000344322" sldId="2147470695"/>
            <ac:spMk id="158" creationId="{3703E4C9-40B7-F091-7F77-BA23E7F671CC}"/>
          </ac:spMkLst>
        </pc:spChg>
        <pc:spChg chg="add del mod modVis">
          <ac:chgData name="Ziegler, Moritz" userId="64963377-0688-41ce-81de-c3adb053cc9f" providerId="ADAL" clId="{C7251E8A-7365-43BF-B47E-FD3F767F1384}" dt="2023-04-19T10:55:51.405" v="8142"/>
          <ac:spMkLst>
            <pc:docMk/>
            <pc:sldMk cId="4000344322" sldId="2147470695"/>
            <ac:spMk id="160" creationId="{417F4FE2-02FC-A984-DD5E-CEE2B0989A6F}"/>
          </ac:spMkLst>
        </pc:spChg>
        <pc:spChg chg="add del mod modVis">
          <ac:chgData name="Ziegler, Moritz" userId="64963377-0688-41ce-81de-c3adb053cc9f" providerId="ADAL" clId="{C7251E8A-7365-43BF-B47E-FD3F767F1384}" dt="2023-04-19T10:55:55.026" v="8395"/>
          <ac:spMkLst>
            <pc:docMk/>
            <pc:sldMk cId="4000344322" sldId="2147470695"/>
            <ac:spMk id="163" creationId="{9E640A0D-4E8B-1289-B1CC-B0414B7AD028}"/>
          </ac:spMkLst>
        </pc:spChg>
        <pc:spChg chg="add del mod modVis">
          <ac:chgData name="Ziegler, Moritz" userId="64963377-0688-41ce-81de-c3adb053cc9f" providerId="ADAL" clId="{C7251E8A-7365-43BF-B47E-FD3F767F1384}" dt="2023-04-19T10:56:43.496" v="8590"/>
          <ac:spMkLst>
            <pc:docMk/>
            <pc:sldMk cId="4000344322" sldId="2147470695"/>
            <ac:spMk id="166" creationId="{8A3C7230-3C38-53A7-9E13-765796F21635}"/>
          </ac:spMkLst>
        </pc:spChg>
        <pc:spChg chg="add del mod modVis">
          <ac:chgData name="Ziegler, Moritz" userId="64963377-0688-41ce-81de-c3adb053cc9f" providerId="ADAL" clId="{C7251E8A-7365-43BF-B47E-FD3F767F1384}" dt="2023-04-19T10:56:44.501" v="9272"/>
          <ac:spMkLst>
            <pc:docMk/>
            <pc:sldMk cId="4000344322" sldId="2147470695"/>
            <ac:spMk id="167" creationId="{4C62D38D-DB2E-D781-8DEF-86F71AFCDE0A}"/>
          </ac:spMkLst>
        </pc:spChg>
        <pc:spChg chg="add del mod modVis">
          <ac:chgData name="Ziegler, Moritz" userId="64963377-0688-41ce-81de-c3adb053cc9f" providerId="ADAL" clId="{C7251E8A-7365-43BF-B47E-FD3F767F1384}" dt="2023-04-19T10:56:48.805" v="9885"/>
          <ac:spMkLst>
            <pc:docMk/>
            <pc:sldMk cId="4000344322" sldId="2147470695"/>
            <ac:spMk id="171" creationId="{5B56BF51-65D4-F7C8-A091-ACC7288A5B21}"/>
          </ac:spMkLst>
        </pc:spChg>
        <pc:spChg chg="add del mod modVis">
          <ac:chgData name="Ziegler, Moritz" userId="64963377-0688-41ce-81de-c3adb053cc9f" providerId="ADAL" clId="{C7251E8A-7365-43BF-B47E-FD3F767F1384}" dt="2023-04-19T10:56:49.608" v="10567"/>
          <ac:spMkLst>
            <pc:docMk/>
            <pc:sldMk cId="4000344322" sldId="2147470695"/>
            <ac:spMk id="172" creationId="{481AE3C5-C88A-61E0-6566-B8266FD01DFC}"/>
          </ac:spMkLst>
        </pc:spChg>
        <pc:spChg chg="add del mod modVis">
          <ac:chgData name="Ziegler, Moritz" userId="64963377-0688-41ce-81de-c3adb053cc9f" providerId="ADAL" clId="{C7251E8A-7365-43BF-B47E-FD3F767F1384}" dt="2023-04-19T10:56:55.872" v="10954"/>
          <ac:spMkLst>
            <pc:docMk/>
            <pc:sldMk cId="4000344322" sldId="2147470695"/>
            <ac:spMk id="175" creationId="{95D508DD-2668-B757-4109-835E7D0D3F79}"/>
          </ac:spMkLst>
        </pc:spChg>
        <pc:spChg chg="add del mod modVis">
          <ac:chgData name="Ziegler, Moritz" userId="64963377-0688-41ce-81de-c3adb053cc9f" providerId="ADAL" clId="{C7251E8A-7365-43BF-B47E-FD3F767F1384}" dt="2023-04-19T10:56:56.693" v="11156"/>
          <ac:spMkLst>
            <pc:docMk/>
            <pc:sldMk cId="4000344322" sldId="2147470695"/>
            <ac:spMk id="177" creationId="{2E13BE34-273F-DE76-C137-5955F76FEC4A}"/>
          </ac:spMkLst>
        </pc:spChg>
        <pc:spChg chg="add del mod modVis">
          <ac:chgData name="Ziegler, Moritz" userId="64963377-0688-41ce-81de-c3adb053cc9f" providerId="ADAL" clId="{C7251E8A-7365-43BF-B47E-FD3F767F1384}" dt="2023-04-19T10:56:57.396" v="11358"/>
          <ac:spMkLst>
            <pc:docMk/>
            <pc:sldMk cId="4000344322" sldId="2147470695"/>
            <ac:spMk id="179" creationId="{4EA7D6FB-4A30-DD4A-8E02-EE2AC5D7F56A}"/>
          </ac:spMkLst>
        </pc:spChg>
        <pc:spChg chg="add mod replST">
          <ac:chgData name="Ziegler, Moritz" userId="64963377-0688-41ce-81de-c3adb053cc9f" providerId="ADAL" clId="{C7251E8A-7365-43BF-B47E-FD3F767F1384}" dt="2023-04-19T11:08:45.403" v="18489"/>
          <ac:spMkLst>
            <pc:docMk/>
            <pc:sldMk cId="4000344322" sldId="2147470695"/>
            <ac:spMk id="184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57:10.761" v="11887"/>
          <ac:spMkLst>
            <pc:docMk/>
            <pc:sldMk cId="4000344322" sldId="2147470695"/>
            <ac:spMk id="185" creationId="{8524DC8C-1D69-F271-C17B-497A62200B7E}"/>
          </ac:spMkLst>
        </pc:spChg>
        <pc:spChg chg="add mod replST delST">
          <ac:chgData name="Ziegler, Moritz" userId="64963377-0688-41ce-81de-c3adb053cc9f" providerId="ADAL" clId="{C7251E8A-7365-43BF-B47E-FD3F767F1384}" dt="2023-04-19T10:58:02.643" v="13149"/>
          <ac:spMkLst>
            <pc:docMk/>
            <pc:sldMk cId="4000344322" sldId="2147470695"/>
            <ac:spMk id="191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58:02.643" v="13149"/>
          <ac:spMkLst>
            <pc:docMk/>
            <pc:sldMk cId="4000344322" sldId="2147470695"/>
            <ac:spMk id="192" creationId="{403E64B4-2160-8CD9-4F60-0F5172236F3A}"/>
          </ac:spMkLst>
        </pc:spChg>
        <pc:spChg chg="add del mod replST">
          <ac:chgData name="Ziegler, Moritz" userId="64963377-0688-41ce-81de-c3adb053cc9f" providerId="ADAL" clId="{C7251E8A-7365-43BF-B47E-FD3F767F1384}" dt="2023-04-19T10:58:30.177" v="14100"/>
          <ac:spMkLst>
            <pc:docMk/>
            <pc:sldMk cId="4000344322" sldId="2147470695"/>
            <ac:spMk id="202" creationId="{E6C842DD-9C46-35D0-22DE-7AC94074E668}"/>
          </ac:spMkLst>
        </pc:spChg>
        <pc:spChg chg="add del mod modVis">
          <ac:chgData name="Ziegler, Moritz" userId="64963377-0688-41ce-81de-c3adb053cc9f" providerId="ADAL" clId="{C7251E8A-7365-43BF-B47E-FD3F767F1384}" dt="2023-04-19T10:58:05.568" v="13599"/>
          <ac:spMkLst>
            <pc:docMk/>
            <pc:sldMk cId="4000344322" sldId="2147470695"/>
            <ac:spMk id="203" creationId="{B13E0AA2-A00E-18C6-55FF-FFFE350395DC}"/>
          </ac:spMkLst>
        </pc:spChg>
        <pc:spChg chg="add mod replST">
          <ac:chgData name="Ziegler, Moritz" userId="64963377-0688-41ce-81de-c3adb053cc9f" providerId="ADAL" clId="{C7251E8A-7365-43BF-B47E-FD3F767F1384}" dt="2023-04-19T11:08:45.404" v="18494"/>
          <ac:spMkLst>
            <pc:docMk/>
            <pc:sldMk cId="4000344322" sldId="2147470695"/>
            <ac:spMk id="216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58:33.331" v="14810"/>
          <ac:spMkLst>
            <pc:docMk/>
            <pc:sldMk cId="4000344322" sldId="2147470695"/>
            <ac:spMk id="217" creationId="{19BC4D9D-5B89-09D6-68AB-31C7B23AF753}"/>
          </ac:spMkLst>
        </pc:spChg>
        <pc:spChg chg="add mod replST">
          <ac:chgData name="Ziegler, Moritz" userId="64963377-0688-41ce-81de-c3adb053cc9f" providerId="ADAL" clId="{C7251E8A-7365-43BF-B47E-FD3F767F1384}" dt="2023-04-19T11:08:45.405" v="18496"/>
          <ac:spMkLst>
            <pc:docMk/>
            <pc:sldMk cId="4000344322" sldId="2147470695"/>
            <ac:spMk id="218" creationId="{F3A34782-E3A2-CF42-9904-29EE5398AD9A}"/>
          </ac:spMkLst>
        </pc:spChg>
        <pc:spChg chg="add mod replST">
          <ac:chgData name="Ziegler, Moritz" userId="64963377-0688-41ce-81de-c3adb053cc9f" providerId="ADAL" clId="{C7251E8A-7365-43BF-B47E-FD3F767F1384}" dt="2023-04-19T11:08:45.406" v="18497"/>
          <ac:spMkLst>
            <pc:docMk/>
            <pc:sldMk cId="4000344322" sldId="2147470695"/>
            <ac:spMk id="219" creationId="{F3A34782-E3A2-CF42-9904-29EE5398AD9A}"/>
          </ac:spMkLst>
        </pc:spChg>
        <pc:spChg chg="add mod replST">
          <ac:chgData name="Ziegler, Moritz" userId="64963377-0688-41ce-81de-c3adb053cc9f" providerId="ADAL" clId="{C7251E8A-7365-43BF-B47E-FD3F767F1384}" dt="2023-04-19T11:08:45.406" v="18498"/>
          <ac:spMkLst>
            <pc:docMk/>
            <pc:sldMk cId="4000344322" sldId="2147470695"/>
            <ac:spMk id="220" creationId="{F3A34782-E3A2-CF42-9904-29EE5398AD9A}"/>
          </ac:spMkLst>
        </pc:spChg>
        <pc:spChg chg="add mod replST">
          <ac:chgData name="Ziegler, Moritz" userId="64963377-0688-41ce-81de-c3adb053cc9f" providerId="ADAL" clId="{C7251E8A-7365-43BF-B47E-FD3F767F1384}" dt="2023-04-19T11:08:45.405" v="18495"/>
          <ac:spMkLst>
            <pc:docMk/>
            <pc:sldMk cId="4000344322" sldId="2147470695"/>
            <ac:spMk id="221" creationId="{F3A34782-E3A2-CF42-9904-29EE5398AD9A}"/>
          </ac:spMkLst>
        </pc:spChg>
        <pc:spChg chg="add mod replST">
          <ac:chgData name="Ziegler, Moritz" userId="64963377-0688-41ce-81de-c3adb053cc9f" providerId="ADAL" clId="{C7251E8A-7365-43BF-B47E-FD3F767F1384}" dt="2023-04-19T11:08:45.406" v="18499"/>
          <ac:spMkLst>
            <pc:docMk/>
            <pc:sldMk cId="4000344322" sldId="2147470695"/>
            <ac:spMk id="222" creationId="{F3A34782-E3A2-CF42-9904-29EE5398AD9A}"/>
          </ac:spMkLst>
        </pc:spChg>
        <pc:spChg chg="add mod replST">
          <ac:chgData name="Ziegler, Moritz" userId="64963377-0688-41ce-81de-c3adb053cc9f" providerId="ADAL" clId="{C7251E8A-7365-43BF-B47E-FD3F767F1384}" dt="2023-04-19T11:08:45.406" v="18500"/>
          <ac:spMkLst>
            <pc:docMk/>
            <pc:sldMk cId="4000344322" sldId="2147470695"/>
            <ac:spMk id="223" creationId="{F3A34782-E3A2-CF42-9904-29EE5398AD9A}"/>
          </ac:spMkLst>
        </pc:spChg>
        <pc:spChg chg="add mod replST">
          <ac:chgData name="Ziegler, Moritz" userId="64963377-0688-41ce-81de-c3adb053cc9f" providerId="ADAL" clId="{C7251E8A-7365-43BF-B47E-FD3F767F1384}" dt="2023-04-19T11:08:45.406" v="18501"/>
          <ac:spMkLst>
            <pc:docMk/>
            <pc:sldMk cId="4000344322" sldId="2147470695"/>
            <ac:spMk id="224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58:39.686" v="14975"/>
          <ac:spMkLst>
            <pc:docMk/>
            <pc:sldMk cId="4000344322" sldId="2147470695"/>
            <ac:spMk id="231" creationId="{D660CD8A-2B13-D96E-9FA1-A995AD49AFEB}"/>
          </ac:spMkLst>
        </pc:spChg>
        <pc:spChg chg="add del mod modVis">
          <ac:chgData name="Ziegler, Moritz" userId="64963377-0688-41ce-81de-c3adb053cc9f" providerId="ADAL" clId="{C7251E8A-7365-43BF-B47E-FD3F767F1384}" dt="2023-04-19T10:59:11.069" v="15493"/>
          <ac:spMkLst>
            <pc:docMk/>
            <pc:sldMk cId="4000344322" sldId="2147470695"/>
            <ac:spMk id="239" creationId="{406C05A0-7FD4-3898-0E54-83147F232E7A}"/>
          </ac:spMkLst>
        </pc:spChg>
        <pc:spChg chg="add del mod ord replST">
          <ac:chgData name="Ziegler, Moritz" userId="64963377-0688-41ce-81de-c3adb053cc9f" providerId="ADAL" clId="{C7251E8A-7365-43BF-B47E-FD3F767F1384}" dt="2023-04-19T10:59:47.307" v="16030"/>
          <ac:spMkLst>
            <pc:docMk/>
            <pc:sldMk cId="4000344322" sldId="2147470695"/>
            <ac:spMk id="241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59:17.511" v="15714"/>
          <ac:spMkLst>
            <pc:docMk/>
            <pc:sldMk cId="4000344322" sldId="2147470695"/>
            <ac:spMk id="242" creationId="{EC5E81C7-8C8A-D97C-9A4B-382D515E577F}"/>
          </ac:spMkLst>
        </pc:spChg>
        <pc:spChg chg="add del mod modVis">
          <ac:chgData name="Ziegler, Moritz" userId="64963377-0688-41ce-81de-c3adb053cc9f" providerId="ADAL" clId="{C7251E8A-7365-43BF-B47E-FD3F767F1384}" dt="2023-04-19T10:59:20.464" v="15873"/>
          <ac:spMkLst>
            <pc:docMk/>
            <pc:sldMk cId="4000344322" sldId="2147470695"/>
            <ac:spMk id="247" creationId="{CD6F385A-D518-55AA-1B41-891380E61D58}"/>
          </ac:spMkLst>
        </pc:spChg>
        <pc:spChg chg="add del mod modVis">
          <ac:chgData name="Ziegler, Moritz" userId="64963377-0688-41ce-81de-c3adb053cc9f" providerId="ADAL" clId="{C7251E8A-7365-43BF-B47E-FD3F767F1384}" dt="2023-04-19T10:59:22.133" v="16020"/>
          <ac:spMkLst>
            <pc:docMk/>
            <pc:sldMk cId="4000344322" sldId="2147470695"/>
            <ac:spMk id="249" creationId="{9AACEC75-C2E4-352E-C6FC-3484FBC6EA1A}"/>
          </ac:spMkLst>
        </pc:spChg>
        <pc:spChg chg="add mod ord replST">
          <ac:chgData name="Ziegler, Moritz" userId="64963377-0688-41ce-81de-c3adb053cc9f" providerId="ADAL" clId="{C7251E8A-7365-43BF-B47E-FD3F767F1384}" dt="2023-04-19T11:08:45.407" v="18503"/>
          <ac:spMkLst>
            <pc:docMk/>
            <pc:sldMk cId="4000344322" sldId="2147470695"/>
            <ac:spMk id="252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0:59:50.221" v="16271"/>
          <ac:spMkLst>
            <pc:docMk/>
            <pc:sldMk cId="4000344322" sldId="2147470695"/>
            <ac:spMk id="253" creationId="{42C78291-695B-7FC7-AD5C-6D6F535E8D97}"/>
          </ac:spMkLst>
        </pc:spChg>
        <pc:spChg chg="add del mod modVis">
          <ac:chgData name="Ziegler, Moritz" userId="64963377-0688-41ce-81de-c3adb053cc9f" providerId="ADAL" clId="{C7251E8A-7365-43BF-B47E-FD3F767F1384}" dt="2023-04-19T10:59:53.510" v="16397"/>
          <ac:spMkLst>
            <pc:docMk/>
            <pc:sldMk cId="4000344322" sldId="2147470695"/>
            <ac:spMk id="256" creationId="{1A6B5BD8-9F43-26BB-02E0-799218B219BD}"/>
          </ac:spMkLst>
        </pc:spChg>
        <pc:spChg chg="add del mod modVis">
          <ac:chgData name="Ziegler, Moritz" userId="64963377-0688-41ce-81de-c3adb053cc9f" providerId="ADAL" clId="{C7251E8A-7365-43BF-B47E-FD3F767F1384}" dt="2023-04-19T11:00:04.327" v="16519"/>
          <ac:spMkLst>
            <pc:docMk/>
            <pc:sldMk cId="4000344322" sldId="2147470695"/>
            <ac:spMk id="258" creationId="{DB892FA9-E5CE-1AA7-F5BC-250DC0D43EF2}"/>
          </ac:spMkLst>
        </pc:spChg>
        <pc:spChg chg="add del mod modVis">
          <ac:chgData name="Ziegler, Moritz" userId="64963377-0688-41ce-81de-c3adb053cc9f" providerId="ADAL" clId="{C7251E8A-7365-43BF-B47E-FD3F767F1384}" dt="2023-04-19T11:00:05.126" v="16632"/>
          <ac:spMkLst>
            <pc:docMk/>
            <pc:sldMk cId="4000344322" sldId="2147470695"/>
            <ac:spMk id="260" creationId="{D966023E-05B7-3071-F765-1B9D759384EE}"/>
          </ac:spMkLst>
        </pc:spChg>
        <pc:spChg chg="add del mod modVis">
          <ac:chgData name="Ziegler, Moritz" userId="64963377-0688-41ce-81de-c3adb053cc9f" providerId="ADAL" clId="{C7251E8A-7365-43BF-B47E-FD3F767F1384}" dt="2023-04-19T11:00:06.028" v="16746"/>
          <ac:spMkLst>
            <pc:docMk/>
            <pc:sldMk cId="4000344322" sldId="2147470695"/>
            <ac:spMk id="262" creationId="{AFDCA728-F974-777A-277D-EEEDDE5CE6BC}"/>
          </ac:spMkLst>
        </pc:spChg>
        <pc:spChg chg="add del mod modVis">
          <ac:chgData name="Ziegler, Moritz" userId="64963377-0688-41ce-81de-c3adb053cc9f" providerId="ADAL" clId="{C7251E8A-7365-43BF-B47E-FD3F767F1384}" dt="2023-04-19T11:00:06.825" v="16860"/>
          <ac:spMkLst>
            <pc:docMk/>
            <pc:sldMk cId="4000344322" sldId="2147470695"/>
            <ac:spMk id="264" creationId="{FD7CE965-0240-F718-2D57-32154DA62EAC}"/>
          </ac:spMkLst>
        </pc:spChg>
        <pc:spChg chg="add del mod modVis">
          <ac:chgData name="Ziegler, Moritz" userId="64963377-0688-41ce-81de-c3adb053cc9f" providerId="ADAL" clId="{C7251E8A-7365-43BF-B47E-FD3F767F1384}" dt="2023-04-19T11:00:09.935" v="16973"/>
          <ac:spMkLst>
            <pc:docMk/>
            <pc:sldMk cId="4000344322" sldId="2147470695"/>
            <ac:spMk id="266" creationId="{BE417EB2-4AD7-BAAB-C0E1-C047EB44DE26}"/>
          </ac:spMkLst>
        </pc:spChg>
        <pc:spChg chg="add del mod modVis">
          <ac:chgData name="Ziegler, Moritz" userId="64963377-0688-41ce-81de-c3adb053cc9f" providerId="ADAL" clId="{C7251E8A-7365-43BF-B47E-FD3F767F1384}" dt="2023-04-19T11:00:10.615" v="17084"/>
          <ac:spMkLst>
            <pc:docMk/>
            <pc:sldMk cId="4000344322" sldId="2147470695"/>
            <ac:spMk id="268" creationId="{9EA2F92D-6E7C-797D-BB12-695F5EE2FC48}"/>
          </ac:spMkLst>
        </pc:spChg>
        <pc:spChg chg="add del mod modVis">
          <ac:chgData name="Ziegler, Moritz" userId="64963377-0688-41ce-81de-c3adb053cc9f" providerId="ADAL" clId="{C7251E8A-7365-43BF-B47E-FD3F767F1384}" dt="2023-04-19T11:00:14.326" v="17183"/>
          <ac:spMkLst>
            <pc:docMk/>
            <pc:sldMk cId="4000344322" sldId="2147470695"/>
            <ac:spMk id="270" creationId="{4579CC76-6665-D691-5ED5-9181A991CC9B}"/>
          </ac:spMkLst>
        </pc:spChg>
        <pc:spChg chg="add del mod modVis">
          <ac:chgData name="Ziegler, Moritz" userId="64963377-0688-41ce-81de-c3adb053cc9f" providerId="ADAL" clId="{C7251E8A-7365-43BF-B47E-FD3F767F1384}" dt="2023-04-19T11:00:15.156" v="17294"/>
          <ac:spMkLst>
            <pc:docMk/>
            <pc:sldMk cId="4000344322" sldId="2147470695"/>
            <ac:spMk id="272" creationId="{3CF49FE6-9FDC-E57D-4161-B69177C74BB9}"/>
          </ac:spMkLst>
        </pc:spChg>
        <pc:spChg chg="add del mod modVis">
          <ac:chgData name="Ziegler, Moritz" userId="64963377-0688-41ce-81de-c3adb053cc9f" providerId="ADAL" clId="{C7251E8A-7365-43BF-B47E-FD3F767F1384}" dt="2023-04-19T11:00:17.844" v="17405"/>
          <ac:spMkLst>
            <pc:docMk/>
            <pc:sldMk cId="4000344322" sldId="2147470695"/>
            <ac:spMk id="274" creationId="{3E09F3C7-B2D4-A2BC-4CBB-3686252E1081}"/>
          </ac:spMkLst>
        </pc:spChg>
        <pc:spChg chg="add del mod ord replST">
          <ac:chgData name="Ziegler, Moritz" userId="64963377-0688-41ce-81de-c3adb053cc9f" providerId="ADAL" clId="{C7251E8A-7365-43BF-B47E-FD3F767F1384}" dt="2023-04-19T11:03:27.750" v="18284"/>
          <ac:spMkLst>
            <pc:docMk/>
            <pc:sldMk cId="4000344322" sldId="2147470695"/>
            <ac:spMk id="278" creationId="{F3A34782-E3A2-CF42-9904-29EE5398AD9A}"/>
          </ac:spMkLst>
        </pc:spChg>
        <pc:spChg chg="add del mod modVis">
          <ac:chgData name="Ziegler, Moritz" userId="64963377-0688-41ce-81de-c3adb053cc9f" providerId="ADAL" clId="{C7251E8A-7365-43BF-B47E-FD3F767F1384}" dt="2023-04-19T11:03:02.481" v="17768"/>
          <ac:spMkLst>
            <pc:docMk/>
            <pc:sldMk cId="4000344322" sldId="2147470695"/>
            <ac:spMk id="279" creationId="{70306F32-4664-BD7B-3FCE-F2D3724535C5}"/>
          </ac:spMkLst>
        </pc:spChg>
        <pc:spChg chg="add del mod modVis">
          <ac:chgData name="Ziegler, Moritz" userId="64963377-0688-41ce-81de-c3adb053cc9f" providerId="ADAL" clId="{C7251E8A-7365-43BF-B47E-FD3F767F1384}" dt="2023-04-19T11:03:06.980" v="17899"/>
          <ac:spMkLst>
            <pc:docMk/>
            <pc:sldMk cId="4000344322" sldId="2147470695"/>
            <ac:spMk id="282" creationId="{D0C731C8-19DA-8BE1-A9BB-4E38D2CFAB0E}"/>
          </ac:spMkLst>
        </pc:spChg>
        <pc:spChg chg="add del mod modVis">
          <ac:chgData name="Ziegler, Moritz" userId="64963377-0688-41ce-81de-c3adb053cc9f" providerId="ADAL" clId="{C7251E8A-7365-43BF-B47E-FD3F767F1384}" dt="2023-04-19T11:03:08.949" v="18032"/>
          <ac:spMkLst>
            <pc:docMk/>
            <pc:sldMk cId="4000344322" sldId="2147470695"/>
            <ac:spMk id="284" creationId="{E6550DA3-04B3-122D-1065-FB72E35EBB9A}"/>
          </ac:spMkLst>
        </pc:spChg>
        <pc:spChg chg="add del mod modVis">
          <ac:chgData name="Ziegler, Moritz" userId="64963377-0688-41ce-81de-c3adb053cc9f" providerId="ADAL" clId="{C7251E8A-7365-43BF-B47E-FD3F767F1384}" dt="2023-04-19T11:03:20.671" v="18158"/>
          <ac:spMkLst>
            <pc:docMk/>
            <pc:sldMk cId="4000344322" sldId="2147470695"/>
            <ac:spMk id="286" creationId="{073AAF0D-3706-54EC-E6DF-2337B44E5343}"/>
          </ac:spMkLst>
        </pc:spChg>
        <pc:spChg chg="add del mod modVis">
          <ac:chgData name="Ziegler, Moritz" userId="64963377-0688-41ce-81de-c3adb053cc9f" providerId="ADAL" clId="{C7251E8A-7365-43BF-B47E-FD3F767F1384}" dt="2023-04-19T11:03:24.397" v="18278"/>
          <ac:spMkLst>
            <pc:docMk/>
            <pc:sldMk cId="4000344322" sldId="2147470695"/>
            <ac:spMk id="288" creationId="{4CA958C3-AEB2-9AE8-319F-4BFFC8F532C5}"/>
          </ac:spMkLst>
        </pc:spChg>
        <pc:graphicFrameChg chg="mod">
          <ac:chgData name="Ziegler, Moritz" userId="64963377-0688-41ce-81de-c3adb053cc9f" providerId="ADAL" clId="{C7251E8A-7365-43BF-B47E-FD3F767F1384}" dt="2023-04-19T11:08:45.413" v="18507"/>
          <ac:graphicFrameMkLst>
            <pc:docMk/>
            <pc:sldMk cId="4000344322" sldId="2147470695"/>
            <ac:graphicFrameMk id="5" creationId="{8197A92F-0241-9E41-AB5F-2EED91E3A04A}"/>
          </ac:graphicFrameMkLst>
        </pc:graphicFrameChg>
        <pc:graphicFrameChg chg="del">
          <ac:chgData name="Ziegler, Moritz" userId="64963377-0688-41ce-81de-c3adb053cc9f" providerId="ADAL" clId="{C7251E8A-7365-43BF-B47E-FD3F767F1384}" dt="2023-04-19T10:17:08.173" v="25"/>
          <ac:graphicFrameMkLst>
            <pc:docMk/>
            <pc:sldMk cId="4000344322" sldId="2147470695"/>
            <ac:graphicFrameMk id="6" creationId="{49F3D2D5-5F13-9C3C-046C-20EF37985B1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17:10.441" v="1301"/>
          <ac:graphicFrameMkLst>
            <pc:docMk/>
            <pc:sldMk cId="4000344322" sldId="2147470695"/>
            <ac:graphicFrameMk id="7" creationId="{73BD0F8D-4AF7-DF23-E7FF-A311737057CB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17:12.759" v="1712"/>
          <ac:graphicFrameMkLst>
            <pc:docMk/>
            <pc:sldMk cId="4000344322" sldId="2147470695"/>
            <ac:graphicFrameMk id="94" creationId="{8937CFE4-327A-C907-1061-1015EC614B30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17:32.756" v="2173"/>
          <ac:graphicFrameMkLst>
            <pc:docMk/>
            <pc:sldMk cId="4000344322" sldId="2147470695"/>
            <ac:graphicFrameMk id="102" creationId="{23051EDB-3491-0C9A-73BC-67D20BD24D7E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17:37.612" v="2855"/>
          <ac:graphicFrameMkLst>
            <pc:docMk/>
            <pc:sldMk cId="4000344322" sldId="2147470695"/>
            <ac:graphicFrameMk id="105" creationId="{9FFB14DB-F7C1-0574-EFF2-35348AA6EED7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17:42.152" v="3267"/>
          <ac:graphicFrameMkLst>
            <pc:docMk/>
            <pc:sldMk cId="4000344322" sldId="2147470695"/>
            <ac:graphicFrameMk id="111" creationId="{817C76E1-0B2A-E8BA-DE20-AAA3BC1A8FFE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17:45.002" v="3591"/>
          <ac:graphicFrameMkLst>
            <pc:docMk/>
            <pc:sldMk cId="4000344322" sldId="2147470695"/>
            <ac:graphicFrameMk id="114" creationId="{90F5DCFE-8F8E-7990-01FD-1907B201DE3A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1:50.804" v="3869"/>
          <ac:graphicFrameMkLst>
            <pc:docMk/>
            <pc:sldMk cId="4000344322" sldId="2147470695"/>
            <ac:graphicFrameMk id="116" creationId="{9F378BB4-E95E-DF03-DF57-ADCEEEE55A0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1:52.303" v="4191"/>
          <ac:graphicFrameMkLst>
            <pc:docMk/>
            <pc:sldMk cId="4000344322" sldId="2147470695"/>
            <ac:graphicFrameMk id="118" creationId="{7E3BAC02-E374-DCC8-2B14-9E265BA4AD8B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1:56.127" v="4382"/>
          <ac:graphicFrameMkLst>
            <pc:docMk/>
            <pc:sldMk cId="4000344322" sldId="2147470695"/>
            <ac:graphicFrameMk id="120" creationId="{80583897-AA24-EB9F-0571-24084436438B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1:59.590" v="4568"/>
          <ac:graphicFrameMkLst>
            <pc:docMk/>
            <pc:sldMk cId="4000344322" sldId="2147470695"/>
            <ac:graphicFrameMk id="122" creationId="{758E33C5-F15A-DEDB-1957-FF38E7C2630D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2:00.222" v="4802"/>
          <ac:graphicFrameMkLst>
            <pc:docMk/>
            <pc:sldMk cId="4000344322" sldId="2147470695"/>
            <ac:graphicFrameMk id="124" creationId="{868C4925-9EB4-517E-C4DD-092268E70E74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2:09.765" v="5034"/>
          <ac:graphicFrameMkLst>
            <pc:docMk/>
            <pc:sldMk cId="4000344322" sldId="2147470695"/>
            <ac:graphicFrameMk id="125" creationId="{3F19EFD2-02F2-63CF-671D-67990DD4A72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2:12.606" v="5221"/>
          <ac:graphicFrameMkLst>
            <pc:docMk/>
            <pc:sldMk cId="4000344322" sldId="2147470695"/>
            <ac:graphicFrameMk id="127" creationId="{7460CE66-D2AD-294D-7D1E-C78E6B82DCC2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2:16.470" v="5393"/>
          <ac:graphicFrameMkLst>
            <pc:docMk/>
            <pc:sldMk cId="4000344322" sldId="2147470695"/>
            <ac:graphicFrameMk id="128" creationId="{69D04F86-44B4-E6C2-4793-085E8BBD988F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2:20.525" v="5580"/>
          <ac:graphicFrameMkLst>
            <pc:docMk/>
            <pc:sldMk cId="4000344322" sldId="2147470695"/>
            <ac:graphicFrameMk id="130" creationId="{75500F6D-6B6D-1265-D6D9-679824ECACDF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3:49.353" v="5765"/>
          <ac:graphicFrameMkLst>
            <pc:docMk/>
            <pc:sldMk cId="4000344322" sldId="2147470695"/>
            <ac:graphicFrameMk id="131" creationId="{23D95F70-66C2-B925-8C3C-322D59355DDD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4:04.407" v="6092"/>
          <ac:graphicFrameMkLst>
            <pc:docMk/>
            <pc:sldMk cId="4000344322" sldId="2147470695"/>
            <ac:graphicFrameMk id="132" creationId="{2E8147E8-FFBB-005F-F306-590ABF804F9E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4:53.632" v="6244"/>
          <ac:graphicFrameMkLst>
            <pc:docMk/>
            <pc:sldMk cId="4000344322" sldId="2147470695"/>
            <ac:graphicFrameMk id="135" creationId="{27FA972D-CA41-CCBF-04C8-09944D5E2959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4:57.730" v="6397"/>
          <ac:graphicFrameMkLst>
            <pc:docMk/>
            <pc:sldMk cId="4000344322" sldId="2147470695"/>
            <ac:graphicFrameMk id="137" creationId="{21D0F169-CF0E-FA9E-8DC0-0C7E36707EA1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4:59.379" v="6550"/>
          <ac:graphicFrameMkLst>
            <pc:docMk/>
            <pc:sldMk cId="4000344322" sldId="2147470695"/>
            <ac:graphicFrameMk id="139" creationId="{4FB54844-A65C-F376-4528-C5FDFEB56E4F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01.110" v="6701"/>
          <ac:graphicFrameMkLst>
            <pc:docMk/>
            <pc:sldMk cId="4000344322" sldId="2147470695"/>
            <ac:graphicFrameMk id="141" creationId="{36513A9E-C994-C8AF-45E0-52AF2AF99B44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11.445" v="6854"/>
          <ac:graphicFrameMkLst>
            <pc:docMk/>
            <pc:sldMk cId="4000344322" sldId="2147470695"/>
            <ac:graphicFrameMk id="143" creationId="{3EE7A018-D9AC-7EC5-0F23-C54E9A34C04F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32.205" v="7007"/>
          <ac:graphicFrameMkLst>
            <pc:docMk/>
            <pc:sldMk cId="4000344322" sldId="2147470695"/>
            <ac:graphicFrameMk id="145" creationId="{0AB27175-83AD-49BB-C6D7-882EFA50985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34.622" v="7158"/>
          <ac:graphicFrameMkLst>
            <pc:docMk/>
            <pc:sldMk cId="4000344322" sldId="2147470695"/>
            <ac:graphicFrameMk id="147" creationId="{E766190F-1DCD-B3FF-9A17-E7460B7970D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37.653" v="7311"/>
          <ac:graphicFrameMkLst>
            <pc:docMk/>
            <pc:sldMk cId="4000344322" sldId="2147470695"/>
            <ac:graphicFrameMk id="149" creationId="{C44BA5B9-7C42-87C1-AEE6-FA6941F5B4B2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40.276" v="7464"/>
          <ac:graphicFrameMkLst>
            <pc:docMk/>
            <pc:sldMk cId="4000344322" sldId="2147470695"/>
            <ac:graphicFrameMk id="151" creationId="{649A33F9-A163-5A47-71AF-380E786D5DD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43.415" v="7617"/>
          <ac:graphicFrameMkLst>
            <pc:docMk/>
            <pc:sldMk cId="4000344322" sldId="2147470695"/>
            <ac:graphicFrameMk id="153" creationId="{E26E2508-1243-1D22-6EBA-49CC959DC127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46.359" v="7770"/>
          <ac:graphicFrameMkLst>
            <pc:docMk/>
            <pc:sldMk cId="4000344322" sldId="2147470695"/>
            <ac:graphicFrameMk id="155" creationId="{623403CF-391E-F306-EA7D-1F4BF8BFFD47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48.618" v="7923"/>
          <ac:graphicFrameMkLst>
            <pc:docMk/>
            <pc:sldMk cId="4000344322" sldId="2147470695"/>
            <ac:graphicFrameMk id="157" creationId="{A4D6E6B6-2B28-BAF8-E20B-5D8E06C9D0E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51.356" v="8076"/>
          <ac:graphicFrameMkLst>
            <pc:docMk/>
            <pc:sldMk cId="4000344322" sldId="2147470695"/>
            <ac:graphicFrameMk id="159" creationId="{B0CE82A5-B337-E126-FDA7-73E21AB213CB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52.973" v="8178"/>
          <ac:graphicFrameMkLst>
            <pc:docMk/>
            <pc:sldMk cId="4000344322" sldId="2147470695"/>
            <ac:graphicFrameMk id="161" creationId="{27DC796C-E6AA-AE11-EC91-E63BC4260F14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5:54.988" v="8329"/>
          <ac:graphicFrameMkLst>
            <pc:docMk/>
            <pc:sldMk cId="4000344322" sldId="2147470695"/>
            <ac:graphicFrameMk id="162" creationId="{B5C0824F-7810-AF25-D12B-126109BD9A4F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6:44.464" v="9206"/>
          <ac:graphicFrameMkLst>
            <pc:docMk/>
            <pc:sldMk cId="4000344322" sldId="2147470695"/>
            <ac:graphicFrameMk id="164" creationId="{D0B7124F-D4BF-6791-540D-405BC4A5BA8A}"/>
          </ac:graphicFrameMkLst>
        </pc:graphicFrameChg>
        <pc:graphicFrameChg chg="add mod replST delST">
          <ac:chgData name="Ziegler, Moritz" userId="64963377-0688-41ce-81de-c3adb053cc9f" providerId="ADAL" clId="{C7251E8A-7365-43BF-B47E-FD3F767F1384}" dt="2023-04-19T10:56:08.315" v="8548"/>
          <ac:graphicFrameMkLst>
            <pc:docMk/>
            <pc:sldMk cId="4000344322" sldId="2147470695"/>
            <ac:graphicFrameMk id="165" creationId="{68644E3A-9C80-42D9-548D-29550F30B3BB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6:45.901" v="9393"/>
          <ac:graphicFrameMkLst>
            <pc:docMk/>
            <pc:sldMk cId="4000344322" sldId="2147470695"/>
            <ac:graphicFrameMk id="168" creationId="{14918A95-2930-F641-9DE2-5A8AC6FF24A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6:49.582" v="10501"/>
          <ac:graphicFrameMkLst>
            <pc:docMk/>
            <pc:sldMk cId="4000344322" sldId="2147470695"/>
            <ac:graphicFrameMk id="169" creationId="{9939B9E2-215F-D05D-40F5-FAFD271FE7B4}"/>
          </ac:graphicFrameMkLst>
        </pc:graphicFrameChg>
        <pc:graphicFrameChg chg="add mod replST delST">
          <ac:chgData name="Ziegler, Moritz" userId="64963377-0688-41ce-81de-c3adb053cc9f" providerId="ADAL" clId="{C7251E8A-7365-43BF-B47E-FD3F767F1384}" dt="2023-04-19T10:56:47.622" v="9843"/>
          <ac:graphicFrameMkLst>
            <pc:docMk/>
            <pc:sldMk cId="4000344322" sldId="2147470695"/>
            <ac:graphicFrameMk id="170" creationId="{8A37F17A-F141-4A33-F943-FB9586290EE9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6:51.255" v="10688"/>
          <ac:graphicFrameMkLst>
            <pc:docMk/>
            <pc:sldMk cId="4000344322" sldId="2147470695"/>
            <ac:graphicFrameMk id="173" creationId="{DD1B2D92-4081-6C46-CF56-0CA39A317F6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6:55.844" v="10888"/>
          <ac:graphicFrameMkLst>
            <pc:docMk/>
            <pc:sldMk cId="4000344322" sldId="2147470695"/>
            <ac:graphicFrameMk id="174" creationId="{05ADBCC7-0D44-6CB4-2852-DB80C964986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6:56.664" v="11090"/>
          <ac:graphicFrameMkLst>
            <pc:docMk/>
            <pc:sldMk cId="4000344322" sldId="2147470695"/>
            <ac:graphicFrameMk id="176" creationId="{9F4F7F18-1E19-376B-4DEB-A94FA4E4E4FE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6:57.367" v="11292"/>
          <ac:graphicFrameMkLst>
            <pc:docMk/>
            <pc:sldMk cId="4000344322" sldId="2147470695"/>
            <ac:graphicFrameMk id="178" creationId="{AB3566C3-8BC1-F46D-486D-0D98568C63EB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7:01.400" v="11455"/>
          <ac:graphicFrameMkLst>
            <pc:docMk/>
            <pc:sldMk cId="4000344322" sldId="2147470695"/>
            <ac:graphicFrameMk id="180" creationId="{9DB48BCE-3EBF-8324-C484-82A4CC8074D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7:06.009" v="11555"/>
          <ac:graphicFrameMkLst>
            <pc:docMk/>
            <pc:sldMk cId="4000344322" sldId="2147470695"/>
            <ac:graphicFrameMk id="181" creationId="{8CF5C54B-131B-2CCE-F1B3-88FB00797294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7:06.278" v="11705"/>
          <ac:graphicFrameMkLst>
            <pc:docMk/>
            <pc:sldMk cId="4000344322" sldId="2147470695"/>
            <ac:graphicFrameMk id="182" creationId="{7C9AD5EF-C599-AB0F-5DD8-1A6A2B591726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7:10.745" v="11855"/>
          <ac:graphicFrameMkLst>
            <pc:docMk/>
            <pc:sldMk cId="4000344322" sldId="2147470695"/>
            <ac:graphicFrameMk id="183" creationId="{26FFF971-F83E-1DC5-D66F-9DBBD4542C5A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7:16.531" v="11913"/>
          <ac:graphicFrameMkLst>
            <pc:docMk/>
            <pc:sldMk cId="4000344322" sldId="2147470695"/>
            <ac:graphicFrameMk id="186" creationId="{2D0FAF92-7553-881C-1D74-5A10BA24499A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7:18.529" v="11967"/>
          <ac:graphicFrameMkLst>
            <pc:docMk/>
            <pc:sldMk cId="4000344322" sldId="2147470695"/>
            <ac:graphicFrameMk id="187" creationId="{05C9D23E-3C16-FEC5-997E-AD5352D0D9A4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7:19.170" v="12020"/>
          <ac:graphicFrameMkLst>
            <pc:docMk/>
            <pc:sldMk cId="4000344322" sldId="2147470695"/>
            <ac:graphicFrameMk id="188" creationId="{7AB61684-A279-E875-B66D-AF2DF98F9CD1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7:20.088" v="12073"/>
          <ac:graphicFrameMkLst>
            <pc:docMk/>
            <pc:sldMk cId="4000344322" sldId="2147470695"/>
            <ac:graphicFrameMk id="189" creationId="{EA8E1E33-7269-4F4F-5589-8BADFBCB9699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05.476" v="13350"/>
          <ac:graphicFrameMkLst>
            <pc:docMk/>
            <pc:sldMk cId="4000344322" sldId="2147470695"/>
            <ac:graphicFrameMk id="190" creationId="{3C144148-FDD5-A43C-524B-93E5EA99737C}"/>
          </ac:graphicFrameMkLst>
        </pc:graphicFrameChg>
        <pc:graphicFrameChg chg="add mod replST delST">
          <ac:chgData name="Ziegler, Moritz" userId="64963377-0688-41ce-81de-c3adb053cc9f" providerId="ADAL" clId="{C7251E8A-7365-43BF-B47E-FD3F767F1384}" dt="2023-04-19T10:58:02.643" v="13149"/>
          <ac:graphicFrameMkLst>
            <pc:docMk/>
            <pc:sldMk cId="4000344322" sldId="2147470695"/>
            <ac:graphicFrameMk id="193" creationId="{3B4989F1-F27C-6412-A576-A674CB7DBA2C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11.534" v="13618"/>
          <ac:graphicFrameMkLst>
            <pc:docMk/>
            <pc:sldMk cId="4000344322" sldId="2147470695"/>
            <ac:graphicFrameMk id="204" creationId="{9CEABF38-BE14-BC12-737D-EA0452B29D36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20.387" v="13776"/>
          <ac:graphicFrameMkLst>
            <pc:docMk/>
            <pc:sldMk cId="4000344322" sldId="2147470695"/>
            <ac:graphicFrameMk id="213" creationId="{2E5D47BA-7AB2-08F7-BF95-67603EFFA07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26.428" v="13934"/>
          <ac:graphicFrameMkLst>
            <pc:docMk/>
            <pc:sldMk cId="4000344322" sldId="2147470695"/>
            <ac:graphicFrameMk id="214" creationId="{F2CFE02A-5D65-81C9-372F-712A59B11089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33.308" v="14771"/>
          <ac:graphicFrameMkLst>
            <pc:docMk/>
            <pc:sldMk cId="4000344322" sldId="2147470695"/>
            <ac:graphicFrameMk id="215" creationId="{317C2981-122F-DB3A-88BF-3610D290457D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39.664" v="14938"/>
          <ac:graphicFrameMkLst>
            <pc:docMk/>
            <pc:sldMk cId="4000344322" sldId="2147470695"/>
            <ac:graphicFrameMk id="230" creationId="{EFE4C8BF-04EA-0008-9198-0FF4EDB380B0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44.463" v="14996"/>
          <ac:graphicFrameMkLst>
            <pc:docMk/>
            <pc:sldMk cId="4000344322" sldId="2147470695"/>
            <ac:graphicFrameMk id="232" creationId="{2344842C-B9E2-5462-FE3B-92189BF50B95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49.715" v="15054"/>
          <ac:graphicFrameMkLst>
            <pc:docMk/>
            <pc:sldMk cId="4000344322" sldId="2147470695"/>
            <ac:graphicFrameMk id="233" creationId="{E76DE54B-CF39-182C-BDDB-315BC16B2FE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8:57.982" v="15114"/>
          <ac:graphicFrameMkLst>
            <pc:docMk/>
            <pc:sldMk cId="4000344322" sldId="2147470695"/>
            <ac:graphicFrameMk id="234" creationId="{5C9E4FBC-D996-F884-D44E-DB5E7C6FC72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01.154" v="15172"/>
          <ac:graphicFrameMkLst>
            <pc:docMk/>
            <pc:sldMk cId="4000344322" sldId="2147470695"/>
            <ac:graphicFrameMk id="235" creationId="{9FFC6B40-6C9A-998A-A263-439DCC33E97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07.666" v="15267"/>
          <ac:graphicFrameMkLst>
            <pc:docMk/>
            <pc:sldMk cId="4000344322" sldId="2147470695"/>
            <ac:graphicFrameMk id="236" creationId="{3DB961CB-37E3-BF68-91ED-09AC734C8EA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09.241" v="15362"/>
          <ac:graphicFrameMkLst>
            <pc:docMk/>
            <pc:sldMk cId="4000344322" sldId="2147470695"/>
            <ac:graphicFrameMk id="237" creationId="{01393808-00DF-E072-C0AA-61B655F6076F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11.046" v="15456"/>
          <ac:graphicFrameMkLst>
            <pc:docMk/>
            <pc:sldMk cId="4000344322" sldId="2147470695"/>
            <ac:graphicFrameMk id="238" creationId="{DC86544F-A8A9-F56A-3037-61DFA36AA717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17.492" v="15669"/>
          <ac:graphicFrameMkLst>
            <pc:docMk/>
            <pc:sldMk cId="4000344322" sldId="2147470695"/>
            <ac:graphicFrameMk id="240" creationId="{E83C799A-2764-7E0A-82BC-E97E6CFFA67F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20.441" v="15828"/>
          <ac:graphicFrameMkLst>
            <pc:docMk/>
            <pc:sldMk cId="4000344322" sldId="2147470695"/>
            <ac:graphicFrameMk id="246" creationId="{33B9A281-8511-EF3E-DDAC-4892F8933316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22.097" v="15975"/>
          <ac:graphicFrameMkLst>
            <pc:docMk/>
            <pc:sldMk cId="4000344322" sldId="2147470695"/>
            <ac:graphicFrameMk id="248" creationId="{18805FD3-9489-C80E-9CB6-96C148836C0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47.326" v="16047"/>
          <ac:graphicFrameMkLst>
            <pc:docMk/>
            <pc:sldMk cId="4000344322" sldId="2147470695"/>
            <ac:graphicFrameMk id="250" creationId="{F7A1CA76-E99F-CE38-99CF-14C5931E1F6C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50.204" v="16230"/>
          <ac:graphicFrameMkLst>
            <pc:docMk/>
            <pc:sldMk cId="4000344322" sldId="2147470695"/>
            <ac:graphicFrameMk id="251" creationId="{A28FAEFE-6787-2D2C-58A7-0399C405FB97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0:59:53.487" v="16356"/>
          <ac:graphicFrameMkLst>
            <pc:docMk/>
            <pc:sldMk cId="4000344322" sldId="2147470695"/>
            <ac:graphicFrameMk id="255" creationId="{769D8292-C700-8870-9F18-F95F807C456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04.304" v="16478"/>
          <ac:graphicFrameMkLst>
            <pc:docMk/>
            <pc:sldMk cId="4000344322" sldId="2147470695"/>
            <ac:graphicFrameMk id="257" creationId="{FABC403B-ABCC-96E9-837E-6616372A1CED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05.097" v="16591"/>
          <ac:graphicFrameMkLst>
            <pc:docMk/>
            <pc:sldMk cId="4000344322" sldId="2147470695"/>
            <ac:graphicFrameMk id="259" creationId="{A751376D-CB4D-4487-A1E3-DFFBE13DE0D8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06.006" v="16705"/>
          <ac:graphicFrameMkLst>
            <pc:docMk/>
            <pc:sldMk cId="4000344322" sldId="2147470695"/>
            <ac:graphicFrameMk id="261" creationId="{D3F9529D-6CF5-9C4D-9EB5-1039A8C7F1F4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06.800" v="16819"/>
          <ac:graphicFrameMkLst>
            <pc:docMk/>
            <pc:sldMk cId="4000344322" sldId="2147470695"/>
            <ac:graphicFrameMk id="263" creationId="{686720D9-8C20-9D59-4C27-15E94C96C4C3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09.906" v="16932"/>
          <ac:graphicFrameMkLst>
            <pc:docMk/>
            <pc:sldMk cId="4000344322" sldId="2147470695"/>
            <ac:graphicFrameMk id="265" creationId="{EACADDEA-52FB-84B6-B939-9127E038546E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10.593" v="17043"/>
          <ac:graphicFrameMkLst>
            <pc:docMk/>
            <pc:sldMk cId="4000344322" sldId="2147470695"/>
            <ac:graphicFrameMk id="267" creationId="{56F0DF21-83B0-5CC4-F539-6D026176C237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14.302" v="17142"/>
          <ac:graphicFrameMkLst>
            <pc:docMk/>
            <pc:sldMk cId="4000344322" sldId="2147470695"/>
            <ac:graphicFrameMk id="269" creationId="{009B96F6-75BA-0242-27B0-3E1B4DE34E64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15.132" v="17253"/>
          <ac:graphicFrameMkLst>
            <pc:docMk/>
            <pc:sldMk cId="4000344322" sldId="2147470695"/>
            <ac:graphicFrameMk id="271" creationId="{811FF46B-9DC5-294F-3EAA-52351904037D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0:17.817" v="17364"/>
          <ac:graphicFrameMkLst>
            <pc:docMk/>
            <pc:sldMk cId="4000344322" sldId="2147470695"/>
            <ac:graphicFrameMk id="273" creationId="{30F7E1CB-EAF8-F59E-96E4-A3D6F792EC3B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2:21.213" v="17476"/>
          <ac:graphicFrameMkLst>
            <pc:docMk/>
            <pc:sldMk cId="4000344322" sldId="2147470695"/>
            <ac:graphicFrameMk id="275" creationId="{31604373-E1A3-6669-FDC9-F62BB0D9F95E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2:36.711" v="17535"/>
          <ac:graphicFrameMkLst>
            <pc:docMk/>
            <pc:sldMk cId="4000344322" sldId="2147470695"/>
            <ac:graphicFrameMk id="276" creationId="{41E2D3AF-2964-087E-08F5-C7B0485D1F3C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3:02.462" v="17723"/>
          <ac:graphicFrameMkLst>
            <pc:docMk/>
            <pc:sldMk cId="4000344322" sldId="2147470695"/>
            <ac:graphicFrameMk id="277" creationId="{B2BB17AC-BB9A-2242-2B22-0281E5F45C6A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3:06.952" v="17854"/>
          <ac:graphicFrameMkLst>
            <pc:docMk/>
            <pc:sldMk cId="4000344322" sldId="2147470695"/>
            <ac:graphicFrameMk id="281" creationId="{FB24CEEC-BFF9-5D3D-1E8C-76F87FD1A767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3:08.925" v="17987"/>
          <ac:graphicFrameMkLst>
            <pc:docMk/>
            <pc:sldMk cId="4000344322" sldId="2147470695"/>
            <ac:graphicFrameMk id="283" creationId="{DFF7F0CE-3413-56F8-4C30-0960E6F51366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3:20.644" v="18113"/>
          <ac:graphicFrameMkLst>
            <pc:docMk/>
            <pc:sldMk cId="4000344322" sldId="2147470695"/>
            <ac:graphicFrameMk id="285" creationId="{87F66FD8-9644-FC4A-2427-ED37480FF274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3:24.371" v="18233"/>
          <ac:graphicFrameMkLst>
            <pc:docMk/>
            <pc:sldMk cId="4000344322" sldId="2147470695"/>
            <ac:graphicFrameMk id="287" creationId="{DEDCF735-C419-9826-FC34-EBA6EA4E9DA2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3:27.766" v="18302"/>
          <ac:graphicFrameMkLst>
            <pc:docMk/>
            <pc:sldMk cId="4000344322" sldId="2147470695"/>
            <ac:graphicFrameMk id="289" creationId="{96606C38-FCF4-0BC9-C055-72EEA84A094E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3:36.110" v="18364"/>
          <ac:graphicFrameMkLst>
            <pc:docMk/>
            <pc:sldMk cId="4000344322" sldId="2147470695"/>
            <ac:graphicFrameMk id="290" creationId="{BA25A11A-D556-7ED8-FDF0-09422B72BE69}"/>
          </ac:graphicFrameMkLst>
        </pc:graphicFrameChg>
        <pc:graphicFrameChg chg="add del mod replST">
          <ac:chgData name="Ziegler, Moritz" userId="64963377-0688-41ce-81de-c3adb053cc9f" providerId="ADAL" clId="{C7251E8A-7365-43BF-B47E-FD3F767F1384}" dt="2023-04-19T11:08:45.384" v="18466"/>
          <ac:graphicFrameMkLst>
            <pc:docMk/>
            <pc:sldMk cId="4000344322" sldId="2147470695"/>
            <ac:graphicFrameMk id="291" creationId="{47E14B15-9854-3200-B58B-984CA77A9673}"/>
          </ac:graphicFrameMkLst>
        </pc:graphicFrameChg>
        <pc:graphicFrameChg chg="add mod replST">
          <ac:chgData name="Ziegler, Moritz" userId="64963377-0688-41ce-81de-c3adb053cc9f" providerId="ADAL" clId="{C7251E8A-7365-43BF-B47E-FD3F767F1384}" dt="2023-04-19T11:08:45.401" v="18477"/>
          <ac:graphicFrameMkLst>
            <pc:docMk/>
            <pc:sldMk cId="4000344322" sldId="2147470695"/>
            <ac:graphicFrameMk id="292" creationId="{C7C0E39E-B144-0C33-DA2A-30C2079A348F}"/>
          </ac:graphicFrameMkLst>
        </pc:graphicFrameChg>
        <pc:cxnChg chg="del">
          <ac:chgData name="Ziegler, Moritz" userId="64963377-0688-41ce-81de-c3adb053cc9f" providerId="ADAL" clId="{C7251E8A-7365-43BF-B47E-FD3F767F1384}" dt="2023-04-19T10:17:08.168" v="11"/>
          <ac:cxnSpMkLst>
            <pc:docMk/>
            <pc:sldMk cId="4000344322" sldId="2147470695"/>
            <ac:cxnSpMk id="20" creationId="{7A14C350-D69F-1C3F-BB21-861A9E789B48}"/>
          </ac:cxnSpMkLst>
        </pc:cxnChg>
        <pc:cxnChg chg="del">
          <ac:chgData name="Ziegler, Moritz" userId="64963377-0688-41ce-81de-c3adb053cc9f" providerId="ADAL" clId="{C7251E8A-7365-43BF-B47E-FD3F767F1384}" dt="2023-04-19T10:17:08.169" v="18"/>
          <ac:cxnSpMkLst>
            <pc:docMk/>
            <pc:sldMk cId="4000344322" sldId="2147470695"/>
            <ac:cxnSpMk id="21" creationId="{723485F9-8E88-0008-D015-87C291439CFC}"/>
          </ac:cxnSpMkLst>
        </pc:cxnChg>
        <pc:cxnChg chg="del">
          <ac:chgData name="Ziegler, Moritz" userId="64963377-0688-41ce-81de-c3adb053cc9f" providerId="ADAL" clId="{C7251E8A-7365-43BF-B47E-FD3F767F1384}" dt="2023-04-19T10:17:08.167" v="9"/>
          <ac:cxnSpMkLst>
            <pc:docMk/>
            <pc:sldMk cId="4000344322" sldId="2147470695"/>
            <ac:cxnSpMk id="22" creationId="{0F253F19-5CAC-D795-5FED-A92306C4DE50}"/>
          </ac:cxnSpMkLst>
        </pc:cxnChg>
        <pc:cxnChg chg="del">
          <ac:chgData name="Ziegler, Moritz" userId="64963377-0688-41ce-81de-c3adb053cc9f" providerId="ADAL" clId="{C7251E8A-7365-43BF-B47E-FD3F767F1384}" dt="2023-04-19T10:17:08.169" v="15"/>
          <ac:cxnSpMkLst>
            <pc:docMk/>
            <pc:sldMk cId="4000344322" sldId="2147470695"/>
            <ac:cxnSpMk id="25" creationId="{5E40E87B-AF07-FD13-C235-2025E4513054}"/>
          </ac:cxnSpMkLst>
        </pc:cxnChg>
        <pc:cxnChg chg="add del mod ord replST">
          <ac:chgData name="Ziegler, Moritz" userId="64963377-0688-41ce-81de-c3adb053cc9f" providerId="ADAL" clId="{C7251E8A-7365-43BF-B47E-FD3F767F1384}" dt="2023-04-19T10:57:06.254" v="11646"/>
          <ac:cxnSpMkLst>
            <pc:docMk/>
            <pc:sldMk cId="4000344322" sldId="2147470695"/>
            <ac:cxnSpMk id="51" creationId="{5A5DB8DA-7E20-6F0E-58A7-476B60E16986}"/>
          </ac:cxnSpMkLst>
        </pc:cxnChg>
        <pc:cxnChg chg="add del mod ord replST">
          <ac:chgData name="Ziegler, Moritz" userId="64963377-0688-41ce-81de-c3adb053cc9f" providerId="ADAL" clId="{C7251E8A-7365-43BF-B47E-FD3F767F1384}" dt="2023-04-19T10:57:06.274" v="11687"/>
          <ac:cxnSpMkLst>
            <pc:docMk/>
            <pc:sldMk cId="4000344322" sldId="2147470695"/>
            <ac:cxnSpMk id="52" creationId="{0FED171C-62A5-F9ED-60AC-31BB92F526F2}"/>
          </ac:cxnSpMkLst>
        </pc:cxnChg>
        <pc:cxnChg chg="add del mod ord replST">
          <ac:chgData name="Ziegler, Moritz" userId="64963377-0688-41ce-81de-c3adb053cc9f" providerId="ADAL" clId="{C7251E8A-7365-43BF-B47E-FD3F767F1384}" dt="2023-04-19T10:58:05.534" v="13483"/>
          <ac:cxnSpMkLst>
            <pc:docMk/>
            <pc:sldMk cId="4000344322" sldId="2147470695"/>
            <ac:cxnSpMk id="53" creationId="{21EA277A-6E03-9D23-41B3-6AB147C8605D}"/>
          </ac:cxnSpMkLst>
        </pc:cxnChg>
        <pc:cxnChg chg="add del mod ord replST">
          <ac:chgData name="Ziegler, Moritz" userId="64963377-0688-41ce-81de-c3adb053cc9f" providerId="ADAL" clId="{C7251E8A-7365-43BF-B47E-FD3F767F1384}" dt="2023-04-19T10:57:06.254" v="11642"/>
          <ac:cxnSpMkLst>
            <pc:docMk/>
            <pc:sldMk cId="4000344322" sldId="2147470695"/>
            <ac:cxnSpMk id="54" creationId="{DD6C19C7-B9D3-63F1-8510-2BC4E14A57DA}"/>
          </ac:cxnSpMkLst>
        </pc:cxnChg>
        <pc:cxnChg chg="add del mod ord replST">
          <ac:chgData name="Ziegler, Moritz" userId="64963377-0688-41ce-81de-c3adb053cc9f" providerId="ADAL" clId="{C7251E8A-7365-43BF-B47E-FD3F767F1384}" dt="2023-04-19T10:57:06.276" v="11698"/>
          <ac:cxnSpMkLst>
            <pc:docMk/>
            <pc:sldMk cId="4000344322" sldId="2147470695"/>
            <ac:cxnSpMk id="55" creationId="{777E54C9-5F2A-16DD-10BF-EE0A36E83EF2}"/>
          </ac:cxnSpMkLst>
        </pc:cxnChg>
        <pc:cxnChg chg="add del mod ord replST">
          <ac:chgData name="Ziegler, Moritz" userId="64963377-0688-41ce-81de-c3adb053cc9f" providerId="ADAL" clId="{C7251E8A-7365-43BF-B47E-FD3F767F1384}" dt="2023-04-19T10:58:05.559" v="13560"/>
          <ac:cxnSpMkLst>
            <pc:docMk/>
            <pc:sldMk cId="4000344322" sldId="2147470695"/>
            <ac:cxnSpMk id="56" creationId="{6D93A0F1-9671-419F-B14E-FE2BEF566F18}"/>
          </ac:cxnSpMkLst>
        </pc:cxnChg>
        <pc:cxnChg chg="add del mod ord replST delST">
          <ac:chgData name="Ziegler, Moritz" userId="64963377-0688-41ce-81de-c3adb053cc9f" providerId="ADAL" clId="{C7251E8A-7365-43BF-B47E-FD3F767F1384}" dt="2023-04-19T10:58:02.643" v="13149"/>
          <ac:cxnSpMkLst>
            <pc:docMk/>
            <pc:sldMk cId="4000344322" sldId="2147470695"/>
            <ac:cxnSpMk id="194" creationId="{133FCC8C-4F1C-24D3-4B54-03810CB30D8B}"/>
          </ac:cxnSpMkLst>
        </pc:cxnChg>
        <pc:cxnChg chg="add del mod ord replST delST">
          <ac:chgData name="Ziegler, Moritz" userId="64963377-0688-41ce-81de-c3adb053cc9f" providerId="ADAL" clId="{C7251E8A-7365-43BF-B47E-FD3F767F1384}" dt="2023-04-19T10:58:02.643" v="13149"/>
          <ac:cxnSpMkLst>
            <pc:docMk/>
            <pc:sldMk cId="4000344322" sldId="2147470695"/>
            <ac:cxnSpMk id="195" creationId="{7B20F01E-ACAF-C132-2454-C806A3709298}"/>
          </ac:cxnSpMkLst>
        </pc:cxnChg>
        <pc:cxnChg chg="add del mod ord replST delST">
          <ac:chgData name="Ziegler, Moritz" userId="64963377-0688-41ce-81de-c3adb053cc9f" providerId="ADAL" clId="{C7251E8A-7365-43BF-B47E-FD3F767F1384}" dt="2023-04-19T10:58:02.643" v="13149"/>
          <ac:cxnSpMkLst>
            <pc:docMk/>
            <pc:sldMk cId="4000344322" sldId="2147470695"/>
            <ac:cxnSpMk id="196" creationId="{6A46632F-7DC9-8CFC-CF62-9B3F69DEA0DF}"/>
          </ac:cxnSpMkLst>
        </pc:cxnChg>
        <pc:cxnChg chg="add del mod ord replST delST">
          <ac:chgData name="Ziegler, Moritz" userId="64963377-0688-41ce-81de-c3adb053cc9f" providerId="ADAL" clId="{C7251E8A-7365-43BF-B47E-FD3F767F1384}" dt="2023-04-19T10:58:02.643" v="13149"/>
          <ac:cxnSpMkLst>
            <pc:docMk/>
            <pc:sldMk cId="4000344322" sldId="2147470695"/>
            <ac:cxnSpMk id="197" creationId="{0BDC7D93-12A5-328A-1825-2FF036CD3430}"/>
          </ac:cxnSpMkLst>
        </pc:cxnChg>
        <pc:cxnChg chg="add del mod ord replST delST">
          <ac:chgData name="Ziegler, Moritz" userId="64963377-0688-41ce-81de-c3adb053cc9f" providerId="ADAL" clId="{C7251E8A-7365-43BF-B47E-FD3F767F1384}" dt="2023-04-19T10:58:02.643" v="13149"/>
          <ac:cxnSpMkLst>
            <pc:docMk/>
            <pc:sldMk cId="4000344322" sldId="2147470695"/>
            <ac:cxnSpMk id="198" creationId="{293CEA59-7A01-8324-14B1-2BAAB27DF5AC}"/>
          </ac:cxnSpMkLst>
        </pc:cxnChg>
        <pc:cxnChg chg="add del mod ord replST delST">
          <ac:chgData name="Ziegler, Moritz" userId="64963377-0688-41ce-81de-c3adb053cc9f" providerId="ADAL" clId="{C7251E8A-7365-43BF-B47E-FD3F767F1384}" dt="2023-04-19T10:58:02.643" v="13149"/>
          <ac:cxnSpMkLst>
            <pc:docMk/>
            <pc:sldMk cId="4000344322" sldId="2147470695"/>
            <ac:cxnSpMk id="199" creationId="{73463555-4B1C-14CE-B775-3BF9B63A425D}"/>
          </ac:cxnSpMkLst>
        </pc:cxnChg>
        <pc:cxnChg chg="add del mod ord replST delST">
          <ac:chgData name="Ziegler, Moritz" userId="64963377-0688-41ce-81de-c3adb053cc9f" providerId="ADAL" clId="{C7251E8A-7365-43BF-B47E-FD3F767F1384}" dt="2023-04-19T10:58:02.643" v="13149"/>
          <ac:cxnSpMkLst>
            <pc:docMk/>
            <pc:sldMk cId="4000344322" sldId="2147470695"/>
            <ac:cxnSpMk id="200" creationId="{C74D0214-868B-913D-0DEC-A5C558E258C6}"/>
          </ac:cxnSpMkLst>
        </pc:cxnChg>
        <pc:cxnChg chg="add del mod ord replST delST">
          <ac:chgData name="Ziegler, Moritz" userId="64963377-0688-41ce-81de-c3adb053cc9f" providerId="ADAL" clId="{C7251E8A-7365-43BF-B47E-FD3F767F1384}" dt="2023-04-19T10:58:02.643" v="13149"/>
          <ac:cxnSpMkLst>
            <pc:docMk/>
            <pc:sldMk cId="4000344322" sldId="2147470695"/>
            <ac:cxnSpMk id="201" creationId="{E1AAAE1D-F3FF-57A5-1B76-E67170A5A0C8}"/>
          </ac:cxnSpMkLst>
        </pc:cxnChg>
        <pc:cxnChg chg="add del mod ord replST">
          <ac:chgData name="Ziegler, Moritz" userId="64963377-0688-41ce-81de-c3adb053cc9f" providerId="ADAL" clId="{C7251E8A-7365-43BF-B47E-FD3F767F1384}" dt="2023-04-19T10:58:30.172" v="14081"/>
          <ac:cxnSpMkLst>
            <pc:docMk/>
            <pc:sldMk cId="4000344322" sldId="2147470695"/>
            <ac:cxnSpMk id="205" creationId="{AB9A4C6E-9E1D-C1F1-460B-6377A8996786}"/>
          </ac:cxnSpMkLst>
        </pc:cxnChg>
        <pc:cxnChg chg="add del mod ord replST">
          <ac:chgData name="Ziegler, Moritz" userId="64963377-0688-41ce-81de-c3adb053cc9f" providerId="ADAL" clId="{C7251E8A-7365-43BF-B47E-FD3F767F1384}" dt="2023-04-19T10:58:30.173" v="14084"/>
          <ac:cxnSpMkLst>
            <pc:docMk/>
            <pc:sldMk cId="4000344322" sldId="2147470695"/>
            <ac:cxnSpMk id="206" creationId="{3FF7F650-CE79-2D0E-6876-06CBC55CEC09}"/>
          </ac:cxnSpMkLst>
        </pc:cxnChg>
        <pc:cxnChg chg="add del mod ord replST">
          <ac:chgData name="Ziegler, Moritz" userId="64963377-0688-41ce-81de-c3adb053cc9f" providerId="ADAL" clId="{C7251E8A-7365-43BF-B47E-FD3F767F1384}" dt="2023-04-19T10:58:30.174" v="14090"/>
          <ac:cxnSpMkLst>
            <pc:docMk/>
            <pc:sldMk cId="4000344322" sldId="2147470695"/>
            <ac:cxnSpMk id="207" creationId="{8D65BD6C-C6C8-A828-948B-2745FBEFA6FB}"/>
          </ac:cxnSpMkLst>
        </pc:cxnChg>
        <pc:cxnChg chg="add del mod ord replST">
          <ac:chgData name="Ziegler, Moritz" userId="64963377-0688-41ce-81de-c3adb053cc9f" providerId="ADAL" clId="{C7251E8A-7365-43BF-B47E-FD3F767F1384}" dt="2023-04-19T10:58:30.175" v="14093"/>
          <ac:cxnSpMkLst>
            <pc:docMk/>
            <pc:sldMk cId="4000344322" sldId="2147470695"/>
            <ac:cxnSpMk id="208" creationId="{01E9A2DE-239A-87C1-A1DE-17310DB49E92}"/>
          </ac:cxnSpMkLst>
        </pc:cxnChg>
        <pc:cxnChg chg="add del mod ord replST">
          <ac:chgData name="Ziegler, Moritz" userId="64963377-0688-41ce-81de-c3adb053cc9f" providerId="ADAL" clId="{C7251E8A-7365-43BF-B47E-FD3F767F1384}" dt="2023-04-19T10:58:30.174" v="14087"/>
          <ac:cxnSpMkLst>
            <pc:docMk/>
            <pc:sldMk cId="4000344322" sldId="2147470695"/>
            <ac:cxnSpMk id="209" creationId="{ED923165-162C-53A4-5F1F-D054E6081676}"/>
          </ac:cxnSpMkLst>
        </pc:cxnChg>
        <pc:cxnChg chg="add del mod ord replST">
          <ac:chgData name="Ziegler, Moritz" userId="64963377-0688-41ce-81de-c3adb053cc9f" providerId="ADAL" clId="{C7251E8A-7365-43BF-B47E-FD3F767F1384}" dt="2023-04-19T10:58:30.170" v="14078"/>
          <ac:cxnSpMkLst>
            <pc:docMk/>
            <pc:sldMk cId="4000344322" sldId="2147470695"/>
            <ac:cxnSpMk id="210" creationId="{47CACC00-73C0-7688-3312-72155DCB5257}"/>
          </ac:cxnSpMkLst>
        </pc:cxnChg>
        <pc:cxnChg chg="add del mod ord replST">
          <ac:chgData name="Ziegler, Moritz" userId="64963377-0688-41ce-81de-c3adb053cc9f" providerId="ADAL" clId="{C7251E8A-7365-43BF-B47E-FD3F767F1384}" dt="2023-04-19T10:58:30.176" v="14099"/>
          <ac:cxnSpMkLst>
            <pc:docMk/>
            <pc:sldMk cId="4000344322" sldId="2147470695"/>
            <ac:cxnSpMk id="211" creationId="{162EAACC-7473-2E4A-F932-D2AD2DFFC8F3}"/>
          </ac:cxnSpMkLst>
        </pc:cxnChg>
        <pc:cxnChg chg="add del mod ord replST">
          <ac:chgData name="Ziegler, Moritz" userId="64963377-0688-41ce-81de-c3adb053cc9f" providerId="ADAL" clId="{C7251E8A-7365-43BF-B47E-FD3F767F1384}" dt="2023-04-19T10:58:30.176" v="14096"/>
          <ac:cxnSpMkLst>
            <pc:docMk/>
            <pc:sldMk cId="4000344322" sldId="2147470695"/>
            <ac:cxnSpMk id="212" creationId="{D5F25552-43AF-3EF1-C359-E046BF7A104B}"/>
          </ac:cxnSpMkLst>
        </pc:cxnChg>
        <pc:cxnChg chg="add del mod ord replST">
          <ac:chgData name="Ziegler, Moritz" userId="64963377-0688-41ce-81de-c3adb053cc9f" providerId="ADAL" clId="{C7251E8A-7365-43BF-B47E-FD3F767F1384}" dt="2023-04-19T10:58:39.653" v="14900"/>
          <ac:cxnSpMkLst>
            <pc:docMk/>
            <pc:sldMk cId="4000344322" sldId="2147470695"/>
            <ac:cxnSpMk id="225" creationId="{1240F7B0-DD22-9DDA-CBA9-77CAC29B19AD}"/>
          </ac:cxnSpMkLst>
        </pc:cxnChg>
        <pc:cxnChg chg="add mod ord replST">
          <ac:chgData name="Ziegler, Moritz" userId="64963377-0688-41ce-81de-c3adb053cc9f" providerId="ADAL" clId="{C7251E8A-7365-43BF-B47E-FD3F767F1384}" dt="2023-04-19T11:08:45.402" v="18487"/>
          <ac:cxnSpMkLst>
            <pc:docMk/>
            <pc:sldMk cId="4000344322" sldId="2147470695"/>
            <ac:cxnSpMk id="226" creationId="{DAF4DC0A-1F91-3D3F-49E7-560D8CF6778E}"/>
          </ac:cxnSpMkLst>
        </pc:cxnChg>
        <pc:cxnChg chg="add mod ord replST">
          <ac:chgData name="Ziegler, Moritz" userId="64963377-0688-41ce-81de-c3adb053cc9f" providerId="ADAL" clId="{C7251E8A-7365-43BF-B47E-FD3F767F1384}" dt="2023-04-19T11:08:45.402" v="18485"/>
          <ac:cxnSpMkLst>
            <pc:docMk/>
            <pc:sldMk cId="4000344322" sldId="2147470695"/>
            <ac:cxnSpMk id="227" creationId="{EF8AB300-2ACE-F7E5-97F7-FFC66175D512}"/>
          </ac:cxnSpMkLst>
        </pc:cxnChg>
        <pc:cxnChg chg="add mod ord replST">
          <ac:chgData name="Ziegler, Moritz" userId="64963377-0688-41ce-81de-c3adb053cc9f" providerId="ADAL" clId="{C7251E8A-7365-43BF-B47E-FD3F767F1384}" dt="2023-04-19T11:08:45.402" v="18483"/>
          <ac:cxnSpMkLst>
            <pc:docMk/>
            <pc:sldMk cId="4000344322" sldId="2147470695"/>
            <ac:cxnSpMk id="228" creationId="{E1E22832-A744-81FB-2452-6BE90C2E61D2}"/>
          </ac:cxnSpMkLst>
        </pc:cxnChg>
        <pc:cxnChg chg="add mod ord replST">
          <ac:chgData name="Ziegler, Moritz" userId="64963377-0688-41ce-81de-c3adb053cc9f" providerId="ADAL" clId="{C7251E8A-7365-43BF-B47E-FD3F767F1384}" dt="2023-04-19T11:08:45.401" v="18481"/>
          <ac:cxnSpMkLst>
            <pc:docMk/>
            <pc:sldMk cId="4000344322" sldId="2147470695"/>
            <ac:cxnSpMk id="229" creationId="{DCF3E9C6-D82A-E92D-4086-18507DC0E862}"/>
          </ac:cxnSpMkLst>
        </pc:cxnChg>
        <pc:cxnChg chg="add del mod ord replST">
          <ac:chgData name="Ziegler, Moritz" userId="64963377-0688-41ce-81de-c3adb053cc9f" providerId="ADAL" clId="{C7251E8A-7365-43BF-B47E-FD3F767F1384}" dt="2023-04-19T10:59:47.307" v="16028"/>
          <ac:cxnSpMkLst>
            <pc:docMk/>
            <pc:sldMk cId="4000344322" sldId="2147470695"/>
            <ac:cxnSpMk id="243" creationId="{67E6357E-880A-8AC1-123E-148750BE1C5B}"/>
          </ac:cxnSpMkLst>
        </pc:cxnChg>
        <pc:cxnChg chg="add del mod ord replST">
          <ac:chgData name="Ziegler, Moritz" userId="64963377-0688-41ce-81de-c3adb053cc9f" providerId="ADAL" clId="{C7251E8A-7365-43BF-B47E-FD3F767F1384}" dt="2023-04-19T10:59:47.306" v="16026"/>
          <ac:cxnSpMkLst>
            <pc:docMk/>
            <pc:sldMk cId="4000344322" sldId="2147470695"/>
            <ac:cxnSpMk id="244" creationId="{93BBB344-9D7C-C4D5-53F8-1589334DD573}"/>
          </ac:cxnSpMkLst>
        </pc:cxnChg>
        <pc:cxnChg chg="add del mod ord replST">
          <ac:chgData name="Ziegler, Moritz" userId="64963377-0688-41ce-81de-c3adb053cc9f" providerId="ADAL" clId="{C7251E8A-7365-43BF-B47E-FD3F767F1384}" dt="2023-04-19T10:59:47.306" v="16024"/>
          <ac:cxnSpMkLst>
            <pc:docMk/>
            <pc:sldMk cId="4000344322" sldId="2147470695"/>
            <ac:cxnSpMk id="245" creationId="{1DE53FF6-35C5-2EBC-E242-BC296945D1FC}"/>
          </ac:cxnSpMkLst>
        </pc:cxnChg>
        <pc:cxnChg chg="add mod ord replST">
          <ac:chgData name="Ziegler, Moritz" userId="64963377-0688-41ce-81de-c3adb053cc9f" providerId="ADAL" clId="{C7251E8A-7365-43BF-B47E-FD3F767F1384}" dt="2023-04-19T11:08:45.401" v="18479"/>
          <ac:cxnSpMkLst>
            <pc:docMk/>
            <pc:sldMk cId="4000344322" sldId="2147470695"/>
            <ac:cxnSpMk id="254" creationId="{E12A98DD-0F90-7761-96B0-20BAF3E83BDC}"/>
          </ac:cxnSpMkLst>
        </pc:cxnChg>
        <pc:cxnChg chg="add del mod ord replST">
          <ac:chgData name="Ziegler, Moritz" userId="64963377-0688-41ce-81de-c3adb053cc9f" providerId="ADAL" clId="{C7251E8A-7365-43BF-B47E-FD3F767F1384}" dt="2023-04-19T11:03:27.748" v="18282"/>
          <ac:cxnSpMkLst>
            <pc:docMk/>
            <pc:sldMk cId="4000344322" sldId="2147470695"/>
            <ac:cxnSpMk id="280" creationId="{D94C7CFA-30B5-182B-3595-AED6BDC81AA7}"/>
          </ac:cxnSpMkLst>
        </pc:cxnChg>
      </pc:sldChg>
    </pc:docChg>
  </pc:docChgLst>
  <pc:docChgLst>
    <pc:chgData name="Stapf, Markus" userId="S::markus.stapf@trumpf.com::eaae5fa1-b61d-4532-8526-ba6236cd0656" providerId="AD" clId="Web-{2A13A0D1-4DD5-7275-6AD7-50B096F7213A}"/>
    <pc:docChg chg="modSld">
      <pc:chgData name="Stapf, Markus" userId="S::markus.stapf@trumpf.com::eaae5fa1-b61d-4532-8526-ba6236cd0656" providerId="AD" clId="Web-{2A13A0D1-4DD5-7275-6AD7-50B096F7213A}" dt="2023-04-19T15:03:58.798" v="0" actId="20577"/>
      <pc:docMkLst>
        <pc:docMk/>
      </pc:docMkLst>
      <pc:sldChg chg="modSp">
        <pc:chgData name="Stapf, Markus" userId="S::markus.stapf@trumpf.com::eaae5fa1-b61d-4532-8526-ba6236cd0656" providerId="AD" clId="Web-{2A13A0D1-4DD5-7275-6AD7-50B096F7213A}" dt="2023-04-19T15:03:58.798" v="0" actId="20577"/>
        <pc:sldMkLst>
          <pc:docMk/>
          <pc:sldMk cId="2052212886" sldId="256"/>
        </pc:sldMkLst>
        <pc:spChg chg="mod">
          <ac:chgData name="Stapf, Markus" userId="S::markus.stapf@trumpf.com::eaae5fa1-b61d-4532-8526-ba6236cd0656" providerId="AD" clId="Web-{2A13A0D1-4DD5-7275-6AD7-50B096F7213A}" dt="2023-04-19T15:03:58.798" v="0" actId="20577"/>
          <ac:spMkLst>
            <pc:docMk/>
            <pc:sldMk cId="2052212886" sldId="256"/>
            <ac:spMk id="4" creationId="{1B5A392F-77B3-B2A4-8CB7-A4DA436F1FCC}"/>
          </ac:spMkLst>
        </pc:spChg>
      </pc:sldChg>
    </pc:docChg>
  </pc:docChgLst>
  <pc:docChgLst>
    <pc:chgData name="Ziegler, Moritz" userId="64963377-0688-41ce-81de-c3adb053cc9f" providerId="ADAL" clId="{06E8612E-1905-4FD3-903D-3F804CCFF889}"/>
    <pc:docChg chg="undo redo custSel addSld delSld modSld sldOrd modMainMaster replTag">
      <pc:chgData name="Ziegler, Moritz" userId="64963377-0688-41ce-81de-c3adb053cc9f" providerId="ADAL" clId="{06E8612E-1905-4FD3-903D-3F804CCFF889}" dt="2023-04-18T10:52:37.777" v="12754"/>
      <pc:docMkLst>
        <pc:docMk/>
      </pc:docMkLst>
      <pc:sldChg chg="modSp mod ord modNotes">
        <pc:chgData name="Ziegler, Moritz" userId="64963377-0688-41ce-81de-c3adb053cc9f" providerId="ADAL" clId="{06E8612E-1905-4FD3-903D-3F804CCFF889}" dt="2023-04-17T20:29:32.185" v="8601" actId="790"/>
        <pc:sldMkLst>
          <pc:docMk/>
          <pc:sldMk cId="2052212886" sldId="256"/>
        </pc:sldMkLst>
        <pc:spChg chg="mod">
          <ac:chgData name="Ziegler, Moritz" userId="64963377-0688-41ce-81de-c3adb053cc9f" providerId="ADAL" clId="{06E8612E-1905-4FD3-903D-3F804CCFF889}" dt="2023-04-17T20:29:32.178" v="8592" actId="790"/>
          <ac:spMkLst>
            <pc:docMk/>
            <pc:sldMk cId="2052212886" sldId="256"/>
            <ac:spMk id="2" creationId="{086CE5F3-B333-4CF3-BCE8-3BD74B1F4DBE}"/>
          </ac:spMkLst>
        </pc:spChg>
        <pc:spChg chg="mod">
          <ac:chgData name="Ziegler, Moritz" userId="64963377-0688-41ce-81de-c3adb053cc9f" providerId="ADAL" clId="{06E8612E-1905-4FD3-903D-3F804CCFF889}" dt="2023-04-17T20:29:32.179" v="8593"/>
          <ac:spMkLst>
            <pc:docMk/>
            <pc:sldMk cId="2052212886" sldId="256"/>
            <ac:spMk id="3" creationId="{A913DC72-8A7A-7781-F19C-87A20CA45309}"/>
          </ac:spMkLst>
        </pc:spChg>
        <pc:spChg chg="mod">
          <ac:chgData name="Ziegler, Moritz" userId="64963377-0688-41ce-81de-c3adb053cc9f" providerId="ADAL" clId="{06E8612E-1905-4FD3-903D-3F804CCFF889}" dt="2023-04-17T20:29:32.179" v="8594"/>
          <ac:spMkLst>
            <pc:docMk/>
            <pc:sldMk cId="2052212886" sldId="256"/>
            <ac:spMk id="4" creationId="{1B5A392F-77B3-B2A4-8CB7-A4DA436F1FCC}"/>
          </ac:spMkLst>
        </pc:spChg>
        <pc:spChg chg="mod">
          <ac:chgData name="Ziegler, Moritz" userId="64963377-0688-41ce-81de-c3adb053cc9f" providerId="ADAL" clId="{06E8612E-1905-4FD3-903D-3F804CCFF889}" dt="2023-04-17T20:29:32.180" v="8595"/>
          <ac:spMkLst>
            <pc:docMk/>
            <pc:sldMk cId="2052212886" sldId="256"/>
            <ac:spMk id="5" creationId="{A5FEBDE1-47B2-0695-9880-217A5FD0FA5A}"/>
          </ac:spMkLst>
        </pc:spChg>
        <pc:spChg chg="mod">
          <ac:chgData name="Ziegler, Moritz" userId="64963377-0688-41ce-81de-c3adb053cc9f" providerId="ADAL" clId="{06E8612E-1905-4FD3-903D-3F804CCFF889}" dt="2023-04-17T20:29:32.181" v="8596" actId="790"/>
          <ac:spMkLst>
            <pc:docMk/>
            <pc:sldMk cId="2052212886" sldId="256"/>
            <ac:spMk id="6" creationId="{3F18A167-DB99-7E9D-D80A-69C4BA0E7900}"/>
          </ac:spMkLst>
        </pc:spChg>
        <pc:spChg chg="mod">
          <ac:chgData name="Ziegler, Moritz" userId="64963377-0688-41ce-81de-c3adb053cc9f" providerId="ADAL" clId="{06E8612E-1905-4FD3-903D-3F804CCFF889}" dt="2023-04-17T20:29:32.182" v="8597" actId="790"/>
          <ac:spMkLst>
            <pc:docMk/>
            <pc:sldMk cId="2052212886" sldId="256"/>
            <ac:spMk id="7" creationId="{6920287C-D18C-15D3-CDCE-C41174247DEB}"/>
          </ac:spMkLst>
        </pc:spChg>
      </pc:sldChg>
      <pc:sldChg chg="addSp delSp modSp mod modNotes">
        <pc:chgData name="Ziegler, Moritz" userId="64963377-0688-41ce-81de-c3adb053cc9f" providerId="ADAL" clId="{06E8612E-1905-4FD3-903D-3F804CCFF889}" dt="2023-04-17T20:29:33.806" v="10039"/>
        <pc:sldMkLst>
          <pc:docMk/>
          <pc:sldMk cId="3464748956" sldId="257"/>
        </pc:sldMkLst>
        <pc:spChg chg="add del mod modVis">
          <ac:chgData name="Ziegler, Moritz" userId="64963377-0688-41ce-81de-c3adb053cc9f" providerId="ADAL" clId="{06E8612E-1905-4FD3-903D-3F804CCFF889}" dt="2023-04-17T20:29:14.023" v="8324"/>
          <ac:spMkLst>
            <pc:docMk/>
            <pc:sldMk cId="3464748956" sldId="257"/>
            <ac:spMk id="2" creationId="{D08177DF-6298-3182-2853-63885A80CE0A}"/>
          </ac:spMkLst>
        </pc:spChg>
        <pc:spChg chg="mod">
          <ac:chgData name="Ziegler, Moritz" userId="64963377-0688-41ce-81de-c3adb053cc9f" providerId="ADAL" clId="{06E8612E-1905-4FD3-903D-3F804CCFF889}" dt="2023-04-17T20:29:32.289" v="8705" actId="947"/>
          <ac:spMkLst>
            <pc:docMk/>
            <pc:sldMk cId="3464748956" sldId="257"/>
            <ac:spMk id="3" creationId="{86FF8445-D5FF-423F-B070-6822BC59EF1A}"/>
          </ac:spMkLst>
        </pc:spChg>
        <pc:spChg chg="mod">
          <ac:chgData name="Ziegler, Moritz" userId="64963377-0688-41ce-81de-c3adb053cc9f" providerId="ADAL" clId="{06E8612E-1905-4FD3-903D-3F804CCFF889}" dt="2023-04-17T20:29:32.844" v="8750" actId="948"/>
          <ac:spMkLst>
            <pc:docMk/>
            <pc:sldMk cId="3464748956" sldId="257"/>
            <ac:spMk id="4" creationId="{97946E87-3169-4D44-A65F-0D7AC0382B9B}"/>
          </ac:spMkLst>
        </pc:spChg>
        <pc:spChg chg="add del mod modVis">
          <ac:chgData name="Ziegler, Moritz" userId="64963377-0688-41ce-81de-c3adb053cc9f" providerId="ADAL" clId="{06E8612E-1905-4FD3-903D-3F804CCFF889}" dt="2023-04-17T20:29:19.485" v="8398"/>
          <ac:spMkLst>
            <pc:docMk/>
            <pc:sldMk cId="3464748956" sldId="257"/>
            <ac:spMk id="6" creationId="{50DE9C4A-FC85-1F16-56F0-35B3592DFC6D}"/>
          </ac:spMkLst>
        </pc:spChg>
        <pc:spChg chg="add del mod modVis">
          <ac:chgData name="Ziegler, Moritz" userId="64963377-0688-41ce-81de-c3adb053cc9f" providerId="ADAL" clId="{06E8612E-1905-4FD3-903D-3F804CCFF889}" dt="2023-04-17T20:29:31.485" v="8446"/>
          <ac:spMkLst>
            <pc:docMk/>
            <pc:sldMk cId="3464748956" sldId="257"/>
            <ac:spMk id="7" creationId="{FE821403-3F47-4901-6968-DF63D05CBB6C}"/>
          </ac:spMkLst>
        </pc:spChg>
        <pc:spChg chg="add del mod modVis">
          <ac:chgData name="Ziegler, Moritz" userId="64963377-0688-41ce-81de-c3adb053cc9f" providerId="ADAL" clId="{06E8612E-1905-4FD3-903D-3F804CCFF889}" dt="2023-04-17T20:29:33.804" v="10037"/>
          <ac:spMkLst>
            <pc:docMk/>
            <pc:sldMk cId="3464748956" sldId="257"/>
            <ac:spMk id="8" creationId="{0DF5B40B-68AB-A258-D10E-F67D45526430}"/>
          </ac:spMkLst>
        </pc:spChg>
        <pc:graphicFrameChg chg="add mod ord modVis replST">
          <ac:chgData name="Ziegler, Moritz" userId="64963377-0688-41ce-81de-c3adb053cc9f" providerId="ADAL" clId="{06E8612E-1905-4FD3-903D-3F804CCFF889}" dt="2023-04-17T20:29:33.806" v="10039"/>
          <ac:graphicFrameMkLst>
            <pc:docMk/>
            <pc:sldMk cId="3464748956" sldId="257"/>
            <ac:graphicFrameMk id="5" creationId="{61BE1257-1ED1-434E-44D1-631DCB834172}"/>
          </ac:graphicFrameMkLst>
        </pc:graphicFrameChg>
      </pc:sldChg>
      <pc:sldChg chg="modSp mod ord modNotes">
        <pc:chgData name="Ziegler, Moritz" userId="64963377-0688-41ce-81de-c3adb053cc9f" providerId="ADAL" clId="{06E8612E-1905-4FD3-903D-3F804CCFF889}" dt="2023-04-17T20:29:32.233" v="8655" actId="790"/>
        <pc:sldMkLst>
          <pc:docMk/>
          <pc:sldMk cId="1115989056" sldId="258"/>
        </pc:sldMkLst>
        <pc:spChg chg="mod">
          <ac:chgData name="Ziegler, Moritz" userId="64963377-0688-41ce-81de-c3adb053cc9f" providerId="ADAL" clId="{06E8612E-1905-4FD3-903D-3F804CCFF889}" dt="2023-04-17T20:29:32.206" v="8626" actId="790"/>
          <ac:spMkLst>
            <pc:docMk/>
            <pc:sldMk cId="1115989056" sldId="258"/>
            <ac:spMk id="5" creationId="{08A3F7B5-0761-A2BE-324A-9E5151687C8A}"/>
          </ac:spMkLst>
        </pc:spChg>
        <pc:spChg chg="mod">
          <ac:chgData name="Ziegler, Moritz" userId="64963377-0688-41ce-81de-c3adb053cc9f" providerId="ADAL" clId="{06E8612E-1905-4FD3-903D-3F804CCFF889}" dt="2023-04-17T20:29:32.207" v="8627" actId="790"/>
          <ac:spMkLst>
            <pc:docMk/>
            <pc:sldMk cId="1115989056" sldId="258"/>
            <ac:spMk id="7" creationId="{7EDC2E00-E721-366C-D597-169224428C33}"/>
          </ac:spMkLst>
        </pc:spChg>
        <pc:spChg chg="mod">
          <ac:chgData name="Ziegler, Moritz" userId="64963377-0688-41ce-81de-c3adb053cc9f" providerId="ADAL" clId="{06E8612E-1905-4FD3-903D-3F804CCFF889}" dt="2023-04-17T20:29:32.208" v="8628" actId="790"/>
          <ac:spMkLst>
            <pc:docMk/>
            <pc:sldMk cId="1115989056" sldId="258"/>
            <ac:spMk id="8" creationId="{35F2DDA2-8B25-D07A-64F0-732AD35BDEA0}"/>
          </ac:spMkLst>
        </pc:spChg>
        <pc:spChg chg="mod">
          <ac:chgData name="Ziegler, Moritz" userId="64963377-0688-41ce-81de-c3adb053cc9f" providerId="ADAL" clId="{06E8612E-1905-4FD3-903D-3F804CCFF889}" dt="2023-04-17T20:29:32.210" v="8630" actId="790"/>
          <ac:spMkLst>
            <pc:docMk/>
            <pc:sldMk cId="1115989056" sldId="258"/>
            <ac:spMk id="9" creationId="{2823A2A2-3442-AACB-6998-036946C330C6}"/>
          </ac:spMkLst>
        </pc:spChg>
        <pc:spChg chg="mod">
          <ac:chgData name="Ziegler, Moritz" userId="64963377-0688-41ce-81de-c3adb053cc9f" providerId="ADAL" clId="{06E8612E-1905-4FD3-903D-3F804CCFF889}" dt="2023-04-17T20:29:32.213" v="8632" actId="790"/>
          <ac:spMkLst>
            <pc:docMk/>
            <pc:sldMk cId="1115989056" sldId="258"/>
            <ac:spMk id="10" creationId="{3DA71D1B-4658-4FFC-D384-F273E3C1BB99}"/>
          </ac:spMkLst>
        </pc:spChg>
        <pc:spChg chg="mod">
          <ac:chgData name="Ziegler, Moritz" userId="64963377-0688-41ce-81de-c3adb053cc9f" providerId="ADAL" clId="{06E8612E-1905-4FD3-903D-3F804CCFF889}" dt="2023-04-17T20:29:32.215" v="8634" actId="790"/>
          <ac:spMkLst>
            <pc:docMk/>
            <pc:sldMk cId="1115989056" sldId="258"/>
            <ac:spMk id="11" creationId="{94E9336A-51D6-9B37-ED24-685E05D4388A}"/>
          </ac:spMkLst>
        </pc:spChg>
        <pc:spChg chg="mod">
          <ac:chgData name="Ziegler, Moritz" userId="64963377-0688-41ce-81de-c3adb053cc9f" providerId="ADAL" clId="{06E8612E-1905-4FD3-903D-3F804CCFF889}" dt="2023-04-17T20:29:32.209" v="8629" actId="790"/>
          <ac:spMkLst>
            <pc:docMk/>
            <pc:sldMk cId="1115989056" sldId="258"/>
            <ac:spMk id="12" creationId="{B3731F17-A4BB-3420-B9D7-6C31C490DF5A}"/>
          </ac:spMkLst>
        </pc:spChg>
        <pc:spChg chg="mod">
          <ac:chgData name="Ziegler, Moritz" userId="64963377-0688-41ce-81de-c3adb053cc9f" providerId="ADAL" clId="{06E8612E-1905-4FD3-903D-3F804CCFF889}" dt="2023-04-17T20:29:32.211" v="8631" actId="790"/>
          <ac:spMkLst>
            <pc:docMk/>
            <pc:sldMk cId="1115989056" sldId="258"/>
            <ac:spMk id="13" creationId="{1DB64957-DD57-E4ED-0853-EB2D4F1F2093}"/>
          </ac:spMkLst>
        </pc:spChg>
        <pc:spChg chg="mod">
          <ac:chgData name="Ziegler, Moritz" userId="64963377-0688-41ce-81de-c3adb053cc9f" providerId="ADAL" clId="{06E8612E-1905-4FD3-903D-3F804CCFF889}" dt="2023-04-17T20:29:32.214" v="8633" actId="790"/>
          <ac:spMkLst>
            <pc:docMk/>
            <pc:sldMk cId="1115989056" sldId="258"/>
            <ac:spMk id="14" creationId="{84A85E75-7785-2ADB-2BE0-8C1BA5528B1E}"/>
          </ac:spMkLst>
        </pc:spChg>
        <pc:spChg chg="mod">
          <ac:chgData name="Ziegler, Moritz" userId="64963377-0688-41ce-81de-c3adb053cc9f" providerId="ADAL" clId="{06E8612E-1905-4FD3-903D-3F804CCFF889}" dt="2023-04-17T20:29:32.216" v="8635" actId="790"/>
          <ac:spMkLst>
            <pc:docMk/>
            <pc:sldMk cId="1115989056" sldId="258"/>
            <ac:spMk id="15" creationId="{27148CD0-4E7A-2D63-119A-B6474DA0DE91}"/>
          </ac:spMkLst>
        </pc:spChg>
        <pc:spChg chg="mod">
          <ac:chgData name="Ziegler, Moritz" userId="64963377-0688-41ce-81de-c3adb053cc9f" providerId="ADAL" clId="{06E8612E-1905-4FD3-903D-3F804CCFF889}" dt="2023-04-17T20:29:32.205" v="8625" actId="790"/>
          <ac:spMkLst>
            <pc:docMk/>
            <pc:sldMk cId="1115989056" sldId="258"/>
            <ac:spMk id="20" creationId="{F8DE04D5-9BBB-E91D-5CFA-7D0D08BF683F}"/>
          </ac:spMkLst>
        </pc:spChg>
        <pc:spChg chg="mod">
          <ac:chgData name="Ziegler, Moritz" userId="64963377-0688-41ce-81de-c3adb053cc9f" providerId="ADAL" clId="{06E8612E-1905-4FD3-903D-3F804CCFF889}" dt="2023-04-17T20:29:32.205" v="8624" actId="790"/>
          <ac:spMkLst>
            <pc:docMk/>
            <pc:sldMk cId="1115989056" sldId="258"/>
            <ac:spMk id="21" creationId="{A73E4AE3-326C-6A40-D6CA-624E25E1634C}"/>
          </ac:spMkLst>
        </pc:spChg>
        <pc:spChg chg="mod">
          <ac:chgData name="Ziegler, Moritz" userId="64963377-0688-41ce-81de-c3adb053cc9f" providerId="ADAL" clId="{06E8612E-1905-4FD3-903D-3F804CCFF889}" dt="2023-04-17T20:29:32.218" v="8636" actId="790"/>
          <ac:spMkLst>
            <pc:docMk/>
            <pc:sldMk cId="1115989056" sldId="258"/>
            <ac:spMk id="25" creationId="{66AF3651-7E8E-B6E4-A605-BAECD4B70321}"/>
          </ac:spMkLst>
        </pc:spChg>
        <pc:spChg chg="mod">
          <ac:chgData name="Ziegler, Moritz" userId="64963377-0688-41ce-81de-c3adb053cc9f" providerId="ADAL" clId="{06E8612E-1905-4FD3-903D-3F804CCFF889}" dt="2023-04-17T20:29:32.218" v="8637"/>
          <ac:spMkLst>
            <pc:docMk/>
            <pc:sldMk cId="1115989056" sldId="258"/>
            <ac:spMk id="26" creationId="{D990E9A9-206B-33B1-5197-CD62293B9A53}"/>
          </ac:spMkLst>
        </pc:spChg>
        <pc:spChg chg="mod">
          <ac:chgData name="Ziegler, Moritz" userId="64963377-0688-41ce-81de-c3adb053cc9f" providerId="ADAL" clId="{06E8612E-1905-4FD3-903D-3F804CCFF889}" dt="2023-04-17T20:29:32.218" v="8638"/>
          <ac:spMkLst>
            <pc:docMk/>
            <pc:sldMk cId="1115989056" sldId="258"/>
            <ac:spMk id="27" creationId="{4B1E07BE-798E-D83C-78F0-CBC134B08B9E}"/>
          </ac:spMkLst>
        </pc:spChg>
        <pc:spChg chg="mod">
          <ac:chgData name="Ziegler, Moritz" userId="64963377-0688-41ce-81de-c3adb053cc9f" providerId="ADAL" clId="{06E8612E-1905-4FD3-903D-3F804CCFF889}" dt="2023-04-17T20:29:32.219" v="8639"/>
          <ac:spMkLst>
            <pc:docMk/>
            <pc:sldMk cId="1115989056" sldId="258"/>
            <ac:spMk id="28" creationId="{520BD4A5-332D-3B32-2BFF-41D0858425D1}"/>
          </ac:spMkLst>
        </pc:spChg>
        <pc:spChg chg="mod">
          <ac:chgData name="Ziegler, Moritz" userId="64963377-0688-41ce-81de-c3adb053cc9f" providerId="ADAL" clId="{06E8612E-1905-4FD3-903D-3F804CCFF889}" dt="2023-04-17T20:29:32.219" v="8640"/>
          <ac:spMkLst>
            <pc:docMk/>
            <pc:sldMk cId="1115989056" sldId="258"/>
            <ac:spMk id="29" creationId="{8DE78D8A-2D19-1907-D8C8-6DEFC9C8B237}"/>
          </ac:spMkLst>
        </pc:spChg>
        <pc:spChg chg="mod">
          <ac:chgData name="Ziegler, Moritz" userId="64963377-0688-41ce-81de-c3adb053cc9f" providerId="ADAL" clId="{06E8612E-1905-4FD3-903D-3F804CCFF889}" dt="2023-04-17T20:29:32.220" v="8641"/>
          <ac:spMkLst>
            <pc:docMk/>
            <pc:sldMk cId="1115989056" sldId="258"/>
            <ac:spMk id="30" creationId="{98E9BED8-7598-BED5-8C01-B17061EEEDFE}"/>
          </ac:spMkLst>
        </pc:spChg>
        <pc:spChg chg="mod">
          <ac:chgData name="Ziegler, Moritz" userId="64963377-0688-41ce-81de-c3adb053cc9f" providerId="ADAL" clId="{06E8612E-1905-4FD3-903D-3F804CCFF889}" dt="2023-04-17T20:29:32.220" v="8642"/>
          <ac:spMkLst>
            <pc:docMk/>
            <pc:sldMk cId="1115989056" sldId="258"/>
            <ac:spMk id="31" creationId="{EC06C9E6-384C-6BFF-E218-73AC21D70C9A}"/>
          </ac:spMkLst>
        </pc:spChg>
        <pc:spChg chg="mod">
          <ac:chgData name="Ziegler, Moritz" userId="64963377-0688-41ce-81de-c3adb053cc9f" providerId="ADAL" clId="{06E8612E-1905-4FD3-903D-3F804CCFF889}" dt="2023-04-17T20:29:32.221" v="8643"/>
          <ac:spMkLst>
            <pc:docMk/>
            <pc:sldMk cId="1115989056" sldId="258"/>
            <ac:spMk id="32" creationId="{C380165F-6040-9C05-01B9-D07FFAF134EE}"/>
          </ac:spMkLst>
        </pc:spChg>
        <pc:spChg chg="mod">
          <ac:chgData name="Ziegler, Moritz" userId="64963377-0688-41ce-81de-c3adb053cc9f" providerId="ADAL" clId="{06E8612E-1905-4FD3-903D-3F804CCFF889}" dt="2023-04-17T20:29:32.222" v="8644"/>
          <ac:spMkLst>
            <pc:docMk/>
            <pc:sldMk cId="1115989056" sldId="258"/>
            <ac:spMk id="34" creationId="{FD07DE6C-EF6F-64C8-FC29-3455E5478192}"/>
          </ac:spMkLst>
        </pc:spChg>
        <pc:spChg chg="mod">
          <ac:chgData name="Ziegler, Moritz" userId="64963377-0688-41ce-81de-c3adb053cc9f" providerId="ADAL" clId="{06E8612E-1905-4FD3-903D-3F804CCFF889}" dt="2023-04-17T20:29:32.223" v="8645"/>
          <ac:spMkLst>
            <pc:docMk/>
            <pc:sldMk cId="1115989056" sldId="258"/>
            <ac:spMk id="35" creationId="{130768AD-9FA1-C1D8-54C7-06EFF0D18342}"/>
          </ac:spMkLst>
        </pc:spChg>
        <pc:spChg chg="mod">
          <ac:chgData name="Ziegler, Moritz" userId="64963377-0688-41ce-81de-c3adb053cc9f" providerId="ADAL" clId="{06E8612E-1905-4FD3-903D-3F804CCFF889}" dt="2023-04-17T20:29:32.224" v="8646"/>
          <ac:spMkLst>
            <pc:docMk/>
            <pc:sldMk cId="1115989056" sldId="258"/>
            <ac:spMk id="36" creationId="{A10B2165-0576-A93C-FF6A-F14C22853F94}"/>
          </ac:spMkLst>
        </pc:spChg>
        <pc:spChg chg="mod">
          <ac:chgData name="Ziegler, Moritz" userId="64963377-0688-41ce-81de-c3adb053cc9f" providerId="ADAL" clId="{06E8612E-1905-4FD3-903D-3F804CCFF889}" dt="2023-04-17T20:29:32.224" v="8647"/>
          <ac:spMkLst>
            <pc:docMk/>
            <pc:sldMk cId="1115989056" sldId="258"/>
            <ac:spMk id="37" creationId="{34B1F8FC-17FB-9745-5273-7DB354942477}"/>
          </ac:spMkLst>
        </pc:spChg>
        <pc:spChg chg="mod">
          <ac:chgData name="Ziegler, Moritz" userId="64963377-0688-41ce-81de-c3adb053cc9f" providerId="ADAL" clId="{06E8612E-1905-4FD3-903D-3F804CCFF889}" dt="2023-04-17T20:29:32.225" v="8648"/>
          <ac:spMkLst>
            <pc:docMk/>
            <pc:sldMk cId="1115989056" sldId="258"/>
            <ac:spMk id="38" creationId="{B83081F6-4D83-7BCC-0202-345BA97AE9EB}"/>
          </ac:spMkLst>
        </pc:spChg>
        <pc:spChg chg="mod">
          <ac:chgData name="Ziegler, Moritz" userId="64963377-0688-41ce-81de-c3adb053cc9f" providerId="ADAL" clId="{06E8612E-1905-4FD3-903D-3F804CCFF889}" dt="2023-04-17T20:29:32.204" v="8623"/>
          <ac:spMkLst>
            <pc:docMk/>
            <pc:sldMk cId="1115989056" sldId="258"/>
            <ac:spMk id="39" creationId="{87390FE7-A7EE-D0CD-9997-3030327F40E3}"/>
          </ac:spMkLst>
        </pc:spChg>
        <pc:spChg chg="mod">
          <ac:chgData name="Ziegler, Moritz" userId="64963377-0688-41ce-81de-c3adb053cc9f" providerId="ADAL" clId="{06E8612E-1905-4FD3-903D-3F804CCFF889}" dt="2023-04-17T20:29:32.225" v="8649"/>
          <ac:spMkLst>
            <pc:docMk/>
            <pc:sldMk cId="1115989056" sldId="258"/>
            <ac:spMk id="40" creationId="{B0DFA947-67A2-CD7A-9808-E212F9D168D8}"/>
          </ac:spMkLst>
        </pc:spChg>
        <pc:spChg chg="mod">
          <ac:chgData name="Ziegler, Moritz" userId="64963377-0688-41ce-81de-c3adb053cc9f" providerId="ADAL" clId="{06E8612E-1905-4FD3-903D-3F804CCFF889}" dt="2023-04-17T20:29:32.229" v="8651"/>
          <ac:spMkLst>
            <pc:docMk/>
            <pc:sldMk cId="1115989056" sldId="258"/>
            <ac:spMk id="41" creationId="{6D28D0B9-9EA8-9D96-9162-64F588B2E1D6}"/>
          </ac:spMkLst>
        </pc:spChg>
        <pc:spChg chg="mod">
          <ac:chgData name="Ziegler, Moritz" userId="64963377-0688-41ce-81de-c3adb053cc9f" providerId="ADAL" clId="{06E8612E-1905-4FD3-903D-3F804CCFF889}" dt="2023-04-17T20:29:32.227" v="8650"/>
          <ac:spMkLst>
            <pc:docMk/>
            <pc:sldMk cId="1115989056" sldId="258"/>
            <ac:spMk id="42" creationId="{4A056CAD-1AD2-FBE3-2932-F34140487CFD}"/>
          </ac:spMkLst>
        </pc:spChg>
      </pc:sldChg>
      <pc:sldChg chg="modSp mod modNotes">
        <pc:chgData name="Ziegler, Moritz" userId="64963377-0688-41ce-81de-c3adb053cc9f" providerId="ADAL" clId="{06E8612E-1905-4FD3-903D-3F804CCFF889}" dt="2023-04-17T20:29:32.201" v="8620" actId="790"/>
        <pc:sldMkLst>
          <pc:docMk/>
          <pc:sldMk cId="3099747405" sldId="259"/>
        </pc:sldMkLst>
        <pc:spChg chg="mod">
          <ac:chgData name="Ziegler, Moritz" userId="64963377-0688-41ce-81de-c3adb053cc9f" providerId="ADAL" clId="{06E8612E-1905-4FD3-903D-3F804CCFF889}" dt="2023-04-17T20:29:32.191" v="8606" actId="790"/>
          <ac:spMkLst>
            <pc:docMk/>
            <pc:sldMk cId="3099747405" sldId="259"/>
            <ac:spMk id="5" creationId="{DCA4750C-94A3-4EE1-0806-16656DBB05B3}"/>
          </ac:spMkLst>
        </pc:spChg>
        <pc:spChg chg="mod">
          <ac:chgData name="Ziegler, Moritz" userId="64963377-0688-41ce-81de-c3adb053cc9f" providerId="ADAL" clId="{06E8612E-1905-4FD3-903D-3F804CCFF889}" dt="2023-04-17T20:29:32.190" v="8605"/>
          <ac:spMkLst>
            <pc:docMk/>
            <pc:sldMk cId="3099747405" sldId="259"/>
            <ac:spMk id="6" creationId="{19F9C1EA-A4C2-EB8D-B357-F078DC16C52B}"/>
          </ac:spMkLst>
        </pc:spChg>
        <pc:spChg chg="mod">
          <ac:chgData name="Ziegler, Moritz" userId="64963377-0688-41ce-81de-c3adb053cc9f" providerId="ADAL" clId="{06E8612E-1905-4FD3-903D-3F804CCFF889}" dt="2023-04-17T20:29:32.194" v="8607" actId="790"/>
          <ac:spMkLst>
            <pc:docMk/>
            <pc:sldMk cId="3099747405" sldId="259"/>
            <ac:spMk id="7" creationId="{9C4E1A0A-6838-5DE0-0112-D1D1F1EBEFDB}"/>
          </ac:spMkLst>
        </pc:spChg>
        <pc:spChg chg="mod">
          <ac:chgData name="Ziegler, Moritz" userId="64963377-0688-41ce-81de-c3adb053cc9f" providerId="ADAL" clId="{06E8612E-1905-4FD3-903D-3F804CCFF889}" dt="2023-04-17T20:29:32.194" v="8608" actId="790"/>
          <ac:spMkLst>
            <pc:docMk/>
            <pc:sldMk cId="3099747405" sldId="259"/>
            <ac:spMk id="11" creationId="{3E0FA5B2-5EDC-1995-376B-B95A5FB0BB12}"/>
          </ac:spMkLst>
        </pc:spChg>
        <pc:spChg chg="mod">
          <ac:chgData name="Ziegler, Moritz" userId="64963377-0688-41ce-81de-c3adb053cc9f" providerId="ADAL" clId="{06E8612E-1905-4FD3-903D-3F804CCFF889}" dt="2023-04-17T20:29:32.195" v="8609" actId="790"/>
          <ac:spMkLst>
            <pc:docMk/>
            <pc:sldMk cId="3099747405" sldId="259"/>
            <ac:spMk id="12" creationId="{46D93773-2662-048E-80F1-351DEF6A1153}"/>
          </ac:spMkLst>
        </pc:spChg>
        <pc:spChg chg="mod">
          <ac:chgData name="Ziegler, Moritz" userId="64963377-0688-41ce-81de-c3adb053cc9f" providerId="ADAL" clId="{06E8612E-1905-4FD3-903D-3F804CCFF889}" dt="2023-04-17T20:29:32.196" v="8610"/>
          <ac:spMkLst>
            <pc:docMk/>
            <pc:sldMk cId="3099747405" sldId="259"/>
            <ac:spMk id="14" creationId="{98691FC3-D79D-F70C-BEAE-01826987111D}"/>
          </ac:spMkLst>
        </pc:spChg>
        <pc:spChg chg="mod">
          <ac:chgData name="Ziegler, Moritz" userId="64963377-0688-41ce-81de-c3adb053cc9f" providerId="ADAL" clId="{06E8612E-1905-4FD3-903D-3F804CCFF889}" dt="2023-04-17T20:29:32.196" v="8611"/>
          <ac:spMkLst>
            <pc:docMk/>
            <pc:sldMk cId="3099747405" sldId="259"/>
            <ac:spMk id="15" creationId="{B0E32B26-AA9D-896C-0DCF-E96F8A1F5BB4}"/>
          </ac:spMkLst>
        </pc:spChg>
        <pc:spChg chg="mod">
          <ac:chgData name="Ziegler, Moritz" userId="64963377-0688-41ce-81de-c3adb053cc9f" providerId="ADAL" clId="{06E8612E-1905-4FD3-903D-3F804CCFF889}" dt="2023-04-17T20:29:32.197" v="8612"/>
          <ac:spMkLst>
            <pc:docMk/>
            <pc:sldMk cId="3099747405" sldId="259"/>
            <ac:spMk id="18" creationId="{97A10E66-D8B1-80AC-7577-F2A3EAC3FA6B}"/>
          </ac:spMkLst>
        </pc:spChg>
        <pc:spChg chg="mod">
          <ac:chgData name="Ziegler, Moritz" userId="64963377-0688-41ce-81de-c3adb053cc9f" providerId="ADAL" clId="{06E8612E-1905-4FD3-903D-3F804CCFF889}" dt="2023-04-17T20:29:32.197" v="8613"/>
          <ac:spMkLst>
            <pc:docMk/>
            <pc:sldMk cId="3099747405" sldId="259"/>
            <ac:spMk id="20" creationId="{91691AE7-6C32-0D36-984A-69C0D4A51AF4}"/>
          </ac:spMkLst>
        </pc:spChg>
        <pc:spChg chg="mod">
          <ac:chgData name="Ziegler, Moritz" userId="64963377-0688-41ce-81de-c3adb053cc9f" providerId="ADAL" clId="{06E8612E-1905-4FD3-903D-3F804CCFF889}" dt="2023-04-17T20:29:32.197" v="8614"/>
          <ac:spMkLst>
            <pc:docMk/>
            <pc:sldMk cId="3099747405" sldId="259"/>
            <ac:spMk id="21" creationId="{B2111A57-21E1-7DEA-672C-3EEF75386086}"/>
          </ac:spMkLst>
        </pc:spChg>
        <pc:spChg chg="mod">
          <ac:chgData name="Ziegler, Moritz" userId="64963377-0688-41ce-81de-c3adb053cc9f" providerId="ADAL" clId="{06E8612E-1905-4FD3-903D-3F804CCFF889}" dt="2023-04-17T20:29:32.198" v="8615"/>
          <ac:spMkLst>
            <pc:docMk/>
            <pc:sldMk cId="3099747405" sldId="259"/>
            <ac:spMk id="22" creationId="{6EA67FA3-60ED-5D55-F8F2-95AD8506DBD9}"/>
          </ac:spMkLst>
        </pc:spChg>
        <pc:spChg chg="mod">
          <ac:chgData name="Ziegler, Moritz" userId="64963377-0688-41ce-81de-c3adb053cc9f" providerId="ADAL" clId="{06E8612E-1905-4FD3-903D-3F804CCFF889}" dt="2023-04-17T20:29:32.198" v="8616"/>
          <ac:spMkLst>
            <pc:docMk/>
            <pc:sldMk cId="3099747405" sldId="259"/>
            <ac:spMk id="23" creationId="{6089D07C-98F0-9BAD-9B64-E793C8F5B941}"/>
          </ac:spMkLst>
        </pc:spChg>
      </pc:sldChg>
      <pc:sldChg chg="addSp delSp modSp mod modNotes">
        <pc:chgData name="Ziegler, Moritz" userId="64963377-0688-41ce-81de-c3adb053cc9f" providerId="ADAL" clId="{06E8612E-1905-4FD3-903D-3F804CCFF889}" dt="2023-04-17T20:31:41.476" v="10080" actId="6549"/>
        <pc:sldMkLst>
          <pc:docMk/>
          <pc:sldMk cId="2479984458" sldId="261"/>
        </pc:sldMkLst>
        <pc:spChg chg="mod">
          <ac:chgData name="Ziegler, Moritz" userId="64963377-0688-41ce-81de-c3adb053cc9f" providerId="ADAL" clId="{06E8612E-1905-4FD3-903D-3F804CCFF889}" dt="2023-04-17T20:29:32.092" v="8464" actId="790"/>
          <ac:spMkLst>
            <pc:docMk/>
            <pc:sldMk cId="2479984458" sldId="261"/>
            <ac:spMk id="2" creationId="{DD71C5EB-324B-A491-81CB-E1FCE462824E}"/>
          </ac:spMkLst>
        </pc:spChg>
        <pc:spChg chg="del mod">
          <ac:chgData name="Ziegler, Moritz" userId="64963377-0688-41ce-81de-c3adb053cc9f" providerId="ADAL" clId="{06E8612E-1905-4FD3-903D-3F804CCFF889}" dt="2023-04-17T20:23:22.060" v="1817" actId="478"/>
          <ac:spMkLst>
            <pc:docMk/>
            <pc:sldMk cId="2479984458" sldId="261"/>
            <ac:spMk id="3" creationId="{EDD62CE7-9165-BB10-CA8F-4FB4048D6FDA}"/>
          </ac:spMkLst>
        </pc:spChg>
        <pc:spChg chg="mod">
          <ac:chgData name="Ziegler, Moritz" userId="64963377-0688-41ce-81de-c3adb053cc9f" providerId="ADAL" clId="{06E8612E-1905-4FD3-903D-3F804CCFF889}" dt="2023-04-17T20:31:41.476" v="10080" actId="6549"/>
          <ac:spMkLst>
            <pc:docMk/>
            <pc:sldMk cId="2479984458" sldId="261"/>
            <ac:spMk id="9" creationId="{F7BC27C2-52EF-C6DD-44B8-44B93647063B}"/>
          </ac:spMkLst>
        </pc:spChg>
        <pc:spChg chg="add del mod modVis">
          <ac:chgData name="Ziegler, Moritz" userId="64963377-0688-41ce-81de-c3adb053cc9f" providerId="ADAL" clId="{06E8612E-1905-4FD3-903D-3F804CCFF889}" dt="2023-04-17T20:23:05.912" v="1631"/>
          <ac:spMkLst>
            <pc:docMk/>
            <pc:sldMk cId="2479984458" sldId="261"/>
            <ac:spMk id="10" creationId="{7D95B6D2-336B-9A25-A4F7-40AB8C65D55E}"/>
          </ac:spMkLst>
        </pc:spChg>
        <pc:spChg chg="add del mod modVis">
          <ac:chgData name="Ziegler, Moritz" userId="64963377-0688-41ce-81de-c3adb053cc9f" providerId="ADAL" clId="{06E8612E-1905-4FD3-903D-3F804CCFF889}" dt="2023-04-17T20:23:07.601" v="1683"/>
          <ac:spMkLst>
            <pc:docMk/>
            <pc:sldMk cId="2479984458" sldId="261"/>
            <ac:spMk id="12" creationId="{D4FE5E33-CA39-D576-8078-2B4447CF1516}"/>
          </ac:spMkLst>
        </pc:spChg>
        <pc:spChg chg="add del mod modVis">
          <ac:chgData name="Ziegler, Moritz" userId="64963377-0688-41ce-81de-c3adb053cc9f" providerId="ADAL" clId="{06E8612E-1905-4FD3-903D-3F804CCFF889}" dt="2023-04-17T20:23:10.126" v="1748"/>
          <ac:spMkLst>
            <pc:docMk/>
            <pc:sldMk cId="2479984458" sldId="261"/>
            <ac:spMk id="14" creationId="{E43E2DB0-4252-DB15-7730-97D763D312AA}"/>
          </ac:spMkLst>
        </pc:spChg>
        <pc:spChg chg="add del mod modVis">
          <ac:chgData name="Ziegler, Moritz" userId="64963377-0688-41ce-81de-c3adb053cc9f" providerId="ADAL" clId="{06E8612E-1905-4FD3-903D-3F804CCFF889}" dt="2023-04-17T20:23:12.990" v="1809"/>
          <ac:spMkLst>
            <pc:docMk/>
            <pc:sldMk cId="2479984458" sldId="261"/>
            <ac:spMk id="16" creationId="{C755B938-3F32-BB1B-2A21-434836A9886F}"/>
          </ac:spMkLst>
        </pc:spChg>
        <pc:graphicFrameChg chg="mod">
          <ac:chgData name="Ziegler, Moritz" userId="64963377-0688-41ce-81de-c3adb053cc9f" providerId="ADAL" clId="{06E8612E-1905-4FD3-903D-3F804CCFF889}" dt="2023-04-17T20:23:12.992" v="1811"/>
          <ac:graphicFrameMkLst>
            <pc:docMk/>
            <pc:sldMk cId="2479984458" sldId="261"/>
            <ac:graphicFrameMk id="5" creationId="{1946D1C3-674D-6A42-21A1-BAB95A7A3057}"/>
          </ac:graphicFrameMkLst>
        </pc:graphicFrameChg>
        <pc:picChg chg="add mod">
          <ac:chgData name="Ziegler, Moritz" userId="64963377-0688-41ce-81de-c3adb053cc9f" providerId="ADAL" clId="{06E8612E-1905-4FD3-903D-3F804CCFF889}" dt="2023-04-17T20:31:11.131" v="10073" actId="1076"/>
          <ac:picMkLst>
            <pc:docMk/>
            <pc:sldMk cId="2479984458" sldId="261"/>
            <ac:picMk id="6" creationId="{CA90A56A-1213-0267-17EF-4CBF0EEB7C8E}"/>
          </ac:picMkLst>
        </pc:picChg>
        <pc:picChg chg="add mod">
          <ac:chgData name="Ziegler, Moritz" userId="64963377-0688-41ce-81de-c3adb053cc9f" providerId="ADAL" clId="{06E8612E-1905-4FD3-903D-3F804CCFF889}" dt="2023-04-17T20:31:17.951" v="10077" actId="1076"/>
          <ac:picMkLst>
            <pc:docMk/>
            <pc:sldMk cId="2479984458" sldId="261"/>
            <ac:picMk id="7" creationId="{4552C5BF-3D6A-7B89-015F-C07C942B3FBC}"/>
          </ac:picMkLst>
        </pc:picChg>
        <pc:picChg chg="add mod">
          <ac:chgData name="Ziegler, Moritz" userId="64963377-0688-41ce-81de-c3adb053cc9f" providerId="ADAL" clId="{06E8612E-1905-4FD3-903D-3F804CCFF889}" dt="2023-04-17T20:31:23.853" v="10078" actId="465"/>
          <ac:picMkLst>
            <pc:docMk/>
            <pc:sldMk cId="2479984458" sldId="261"/>
            <ac:picMk id="8" creationId="{354743ED-D0D9-F40B-1290-CF1DE2608BD6}"/>
          </ac:picMkLst>
        </pc:picChg>
        <pc:picChg chg="add mod">
          <ac:chgData name="Ziegler, Moritz" userId="64963377-0688-41ce-81de-c3adb053cc9f" providerId="ADAL" clId="{06E8612E-1905-4FD3-903D-3F804CCFF889}" dt="2023-04-17T20:31:23.853" v="10078" actId="465"/>
          <ac:picMkLst>
            <pc:docMk/>
            <pc:sldMk cId="2479984458" sldId="261"/>
            <ac:picMk id="11" creationId="{508A2024-10CD-EE07-98EC-F658B1C6CF02}"/>
          </ac:picMkLst>
        </pc:picChg>
        <pc:picChg chg="add mod">
          <ac:chgData name="Ziegler, Moritz" userId="64963377-0688-41ce-81de-c3adb053cc9f" providerId="ADAL" clId="{06E8612E-1905-4FD3-903D-3F804CCFF889}" dt="2023-04-17T20:31:23.853" v="10078" actId="465"/>
          <ac:picMkLst>
            <pc:docMk/>
            <pc:sldMk cId="2479984458" sldId="261"/>
            <ac:picMk id="13" creationId="{D8627282-FFE6-2B45-8BBC-97A4F660CB4E}"/>
          </ac:picMkLst>
        </pc:picChg>
        <pc:picChg chg="add mod">
          <ac:chgData name="Ziegler, Moritz" userId="64963377-0688-41ce-81de-c3adb053cc9f" providerId="ADAL" clId="{06E8612E-1905-4FD3-903D-3F804CCFF889}" dt="2023-04-17T20:31:23.853" v="10078" actId="465"/>
          <ac:picMkLst>
            <pc:docMk/>
            <pc:sldMk cId="2479984458" sldId="261"/>
            <ac:picMk id="15" creationId="{F4DDC741-3269-96A6-A2A1-98F982474849}"/>
          </ac:picMkLst>
        </pc:picChg>
      </pc:sldChg>
      <pc:sldChg chg="addSp delSp modSp mod modNotes">
        <pc:chgData name="Ziegler, Moritz" userId="64963377-0688-41ce-81de-c3adb053cc9f" providerId="ADAL" clId="{06E8612E-1905-4FD3-903D-3F804CCFF889}" dt="2023-04-17T20:29:33.823" v="10047"/>
        <pc:sldMkLst>
          <pc:docMk/>
          <pc:sldMk cId="1660399850" sldId="264"/>
        </pc:sldMkLst>
        <pc:spChg chg="mod ord">
          <ac:chgData name="Ziegler, Moritz" userId="64963377-0688-41ce-81de-c3adb053cc9f" providerId="ADAL" clId="{06E8612E-1905-4FD3-903D-3F804CCFF889}" dt="2023-04-17T20:29:33.656" v="9800"/>
          <ac:spMkLst>
            <pc:docMk/>
            <pc:sldMk cId="1660399850" sldId="264"/>
            <ac:spMk id="2" creationId="{0008C13E-07A0-6877-90B6-1FD1431569ED}"/>
          </ac:spMkLst>
        </pc:spChg>
        <pc:spChg chg="mod ord">
          <ac:chgData name="Ziegler, Moritz" userId="64963377-0688-41ce-81de-c3adb053cc9f" providerId="ADAL" clId="{06E8612E-1905-4FD3-903D-3F804CCFF889}" dt="2023-04-17T20:29:33.657" v="9802"/>
          <ac:spMkLst>
            <pc:docMk/>
            <pc:sldMk cId="1660399850" sldId="264"/>
            <ac:spMk id="3" creationId="{235DDF0B-ED90-FB21-B832-174A765A2E8B}"/>
          </ac:spMkLst>
        </pc:spChg>
        <pc:spChg chg="add del mod modVis">
          <ac:chgData name="Ziegler, Moritz" userId="64963377-0688-41ce-81de-c3adb053cc9f" providerId="ADAL" clId="{06E8612E-1905-4FD3-903D-3F804CCFF889}" dt="2023-04-17T20:29:14.052" v="8346"/>
          <ac:spMkLst>
            <pc:docMk/>
            <pc:sldMk cId="1660399850" sldId="264"/>
            <ac:spMk id="4" creationId="{9D77E892-70C1-F2CE-AB80-C9A3C64F80AB}"/>
          </ac:spMkLst>
        </pc:spChg>
        <pc:spChg chg="add del mod modVis">
          <ac:chgData name="Ziegler, Moritz" userId="64963377-0688-41ce-81de-c3adb053cc9f" providerId="ADAL" clId="{06E8612E-1905-4FD3-903D-3F804CCFF889}" dt="2023-04-17T20:29:33.817" v="10045"/>
          <ac:spMkLst>
            <pc:docMk/>
            <pc:sldMk cId="1660399850" sldId="264"/>
            <ac:spMk id="6" creationId="{00CF87DD-13E1-1A7E-D6D3-9746AB53F5C4}"/>
          </ac:spMkLst>
        </pc:spChg>
        <pc:spChg chg="mod ord">
          <ac:chgData name="Ziegler, Moritz" userId="64963377-0688-41ce-81de-c3adb053cc9f" providerId="ADAL" clId="{06E8612E-1905-4FD3-903D-3F804CCFF889}" dt="2023-04-17T20:29:33.667" v="9844"/>
          <ac:spMkLst>
            <pc:docMk/>
            <pc:sldMk cId="1660399850" sldId="264"/>
            <ac:spMk id="28" creationId="{403DAB70-0BDB-F3D9-FB3E-26E44BE68F36}"/>
          </ac:spMkLst>
        </pc:spChg>
        <pc:spChg chg="mod ord">
          <ac:chgData name="Ziegler, Moritz" userId="64963377-0688-41ce-81de-c3adb053cc9f" providerId="ADAL" clId="{06E8612E-1905-4FD3-903D-3F804CCFF889}" dt="2023-04-17T20:29:33.668" v="9846"/>
          <ac:spMkLst>
            <pc:docMk/>
            <pc:sldMk cId="1660399850" sldId="264"/>
            <ac:spMk id="31" creationId="{FD6F108F-C444-CD8D-6E9F-63289D85AAE3}"/>
          </ac:spMkLst>
        </pc:spChg>
        <pc:spChg chg="mod ord">
          <ac:chgData name="Ziegler, Moritz" userId="64963377-0688-41ce-81de-c3adb053cc9f" providerId="ADAL" clId="{06E8612E-1905-4FD3-903D-3F804CCFF889}" dt="2023-04-17T20:29:33.670" v="9856"/>
          <ac:spMkLst>
            <pc:docMk/>
            <pc:sldMk cId="1660399850" sldId="264"/>
            <ac:spMk id="226" creationId="{583E0E16-40CD-09C1-032C-3530A160E9B2}"/>
          </ac:spMkLst>
        </pc:spChg>
        <pc:spChg chg="mod ord">
          <ac:chgData name="Ziegler, Moritz" userId="64963377-0688-41ce-81de-c3adb053cc9f" providerId="ADAL" clId="{06E8612E-1905-4FD3-903D-3F804CCFF889}" dt="2023-04-17T20:29:33.670" v="9858"/>
          <ac:spMkLst>
            <pc:docMk/>
            <pc:sldMk cId="1660399850" sldId="264"/>
            <ac:spMk id="227" creationId="{96929C62-F5F6-2A75-53BD-EFFE40E52A59}"/>
          </ac:spMkLst>
        </pc:spChg>
        <pc:spChg chg="mod ord">
          <ac:chgData name="Ziegler, Moritz" userId="64963377-0688-41ce-81de-c3adb053cc9f" providerId="ADAL" clId="{06E8612E-1905-4FD3-903D-3F804CCFF889}" dt="2023-04-17T20:29:33.670" v="9860"/>
          <ac:spMkLst>
            <pc:docMk/>
            <pc:sldMk cId="1660399850" sldId="264"/>
            <ac:spMk id="228" creationId="{BDCE635E-5C53-B71B-D895-C74A9591B9E1}"/>
          </ac:spMkLst>
        </pc:spChg>
        <pc:spChg chg="mod ord">
          <ac:chgData name="Ziegler, Moritz" userId="64963377-0688-41ce-81de-c3adb053cc9f" providerId="ADAL" clId="{06E8612E-1905-4FD3-903D-3F804CCFF889}" dt="2023-04-17T20:29:33.671" v="9862"/>
          <ac:spMkLst>
            <pc:docMk/>
            <pc:sldMk cId="1660399850" sldId="264"/>
            <ac:spMk id="229" creationId="{6C88773E-38A8-D201-E760-309C9A69C7CF}"/>
          </ac:spMkLst>
        </pc:spChg>
        <pc:spChg chg="mod">
          <ac:chgData name="Ziegler, Moritz" userId="64963377-0688-41ce-81de-c3adb053cc9f" providerId="ADAL" clId="{06E8612E-1905-4FD3-903D-3F804CCFF889}" dt="2023-04-17T20:29:33.666" v="9839"/>
          <ac:spMkLst>
            <pc:docMk/>
            <pc:sldMk cId="1660399850" sldId="264"/>
            <ac:spMk id="236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3" v="9826"/>
          <ac:spMkLst>
            <pc:docMk/>
            <pc:sldMk cId="1660399850" sldId="264"/>
            <ac:spMk id="244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3" v="9827"/>
          <ac:spMkLst>
            <pc:docMk/>
            <pc:sldMk cId="1660399850" sldId="264"/>
            <ac:spMk id="245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3" v="9828"/>
          <ac:spMkLst>
            <pc:docMk/>
            <pc:sldMk cId="1660399850" sldId="264"/>
            <ac:spMk id="246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4" v="9829"/>
          <ac:spMkLst>
            <pc:docMk/>
            <pc:sldMk cId="1660399850" sldId="264"/>
            <ac:spMk id="247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5" v="9832"/>
          <ac:spMkLst>
            <pc:docMk/>
            <pc:sldMk cId="1660399850" sldId="264"/>
            <ac:spMk id="248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4" v="9831"/>
          <ac:spMkLst>
            <pc:docMk/>
            <pc:sldMk cId="1660399850" sldId="264"/>
            <ac:spMk id="249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4" v="9830"/>
          <ac:spMkLst>
            <pc:docMk/>
            <pc:sldMk cId="1660399850" sldId="264"/>
            <ac:spMk id="250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5" v="9833"/>
          <ac:spMkLst>
            <pc:docMk/>
            <pc:sldMk cId="1660399850" sldId="264"/>
            <ac:spMk id="251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5" v="9834"/>
          <ac:spMkLst>
            <pc:docMk/>
            <pc:sldMk cId="1660399850" sldId="264"/>
            <ac:spMk id="252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6" v="9835"/>
          <ac:spMkLst>
            <pc:docMk/>
            <pc:sldMk cId="1660399850" sldId="264"/>
            <ac:spMk id="253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7" v="9842"/>
          <ac:spMkLst>
            <pc:docMk/>
            <pc:sldMk cId="1660399850" sldId="264"/>
            <ac:spMk id="331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666" v="9836"/>
          <ac:spMkLst>
            <pc:docMk/>
            <pc:sldMk cId="1660399850" sldId="264"/>
            <ac:spMk id="421" creationId="{F3A34782-E3A2-CF42-9904-29EE5398AD9A}"/>
          </ac:spMkLst>
        </pc:spChg>
        <pc:spChg chg="mod ord">
          <ac:chgData name="Ziegler, Moritz" userId="64963377-0688-41ce-81de-c3adb053cc9f" providerId="ADAL" clId="{06E8612E-1905-4FD3-903D-3F804CCFF889}" dt="2023-04-17T20:29:33.668" v="9848"/>
          <ac:spMkLst>
            <pc:docMk/>
            <pc:sldMk cId="1660399850" sldId="264"/>
            <ac:spMk id="471" creationId="{A1530FBC-7DEC-9D81-1F82-74228BB8666B}"/>
          </ac:spMkLst>
        </pc:spChg>
        <pc:spChg chg="mod ord">
          <ac:chgData name="Ziegler, Moritz" userId="64963377-0688-41ce-81de-c3adb053cc9f" providerId="ADAL" clId="{06E8612E-1905-4FD3-903D-3F804CCFF889}" dt="2023-04-17T20:29:33.668" v="9850"/>
          <ac:spMkLst>
            <pc:docMk/>
            <pc:sldMk cId="1660399850" sldId="264"/>
            <ac:spMk id="472" creationId="{7E35FF84-25B3-28B4-30C5-023243FFCCC3}"/>
          </ac:spMkLst>
        </pc:spChg>
        <pc:spChg chg="mod ord">
          <ac:chgData name="Ziegler, Moritz" userId="64963377-0688-41ce-81de-c3adb053cc9f" providerId="ADAL" clId="{06E8612E-1905-4FD3-903D-3F804CCFF889}" dt="2023-04-17T20:29:33.669" v="9852"/>
          <ac:spMkLst>
            <pc:docMk/>
            <pc:sldMk cId="1660399850" sldId="264"/>
            <ac:spMk id="473" creationId="{5FD1B317-9CD0-E4F7-7567-08F1C79F3C4B}"/>
          </ac:spMkLst>
        </pc:spChg>
        <pc:spChg chg="mod ord">
          <ac:chgData name="Ziegler, Moritz" userId="64963377-0688-41ce-81de-c3adb053cc9f" providerId="ADAL" clId="{06E8612E-1905-4FD3-903D-3F804CCFF889}" dt="2023-04-17T20:29:33.669" v="9854"/>
          <ac:spMkLst>
            <pc:docMk/>
            <pc:sldMk cId="1660399850" sldId="264"/>
            <ac:spMk id="475" creationId="{295D98B2-26BD-7D6C-C072-30ACCA39C2F3}"/>
          </ac:spMkLst>
        </pc:spChg>
        <pc:graphicFrameChg chg="add del mod replST">
          <ac:chgData name="Ziegler, Moritz" userId="64963377-0688-41ce-81de-c3adb053cc9f" providerId="ADAL" clId="{06E8612E-1905-4FD3-903D-3F804CCFF889}" dt="2023-04-17T20:29:33.626" v="9761"/>
          <ac:graphicFrameMkLst>
            <pc:docMk/>
            <pc:sldMk cId="1660399850" sldId="264"/>
            <ac:graphicFrameMk id="5" creationId="{A78DD4E5-4C0F-9635-897F-3D0E4B71DCDB}"/>
          </ac:graphicFrameMkLst>
        </pc:graphicFrameChg>
        <pc:graphicFrameChg chg="add mod replST">
          <ac:chgData name="Ziegler, Moritz" userId="64963377-0688-41ce-81de-c3adb053cc9f" providerId="ADAL" clId="{06E8612E-1905-4FD3-903D-3F804CCFF889}" dt="2023-04-17T20:29:33.663" v="9825"/>
          <ac:graphicFrameMkLst>
            <pc:docMk/>
            <pc:sldMk cId="1660399850" sldId="264"/>
            <ac:graphicFrameMk id="7" creationId="{F25FE335-F1C0-531F-0708-413D158EFCF8}"/>
          </ac:graphicFrameMkLst>
        </pc:graphicFrameChg>
        <pc:graphicFrameChg chg="mod">
          <ac:chgData name="Ziegler, Moritz" userId="64963377-0688-41ce-81de-c3adb053cc9f" providerId="ADAL" clId="{06E8612E-1905-4FD3-903D-3F804CCFF889}" dt="2023-04-17T20:29:33.823" v="10047"/>
          <ac:graphicFrameMkLst>
            <pc:docMk/>
            <pc:sldMk cId="1660399850" sldId="264"/>
            <ac:graphicFrameMk id="8" creationId="{E53F4BFB-987B-1DEA-A2CB-B5DAE0B35C97}"/>
          </ac:graphicFrameMkLst>
        </pc:graphicFrameChg>
        <pc:graphicFrameChg chg="del">
          <ac:chgData name="Ziegler, Moritz" userId="64963377-0688-41ce-81de-c3adb053cc9f" providerId="ADAL" clId="{06E8612E-1905-4FD3-903D-3F804CCFF889}" dt="2023-04-17T20:29:13.862" v="8073"/>
          <ac:graphicFrameMkLst>
            <pc:docMk/>
            <pc:sldMk cId="1660399850" sldId="264"/>
            <ac:graphicFrameMk id="243" creationId="{CAE69CE8-AD22-38B6-F7E3-3297206E2DA7}"/>
          </ac:graphicFrameMkLst>
        </pc:graphicFrameChg>
        <pc:cxnChg chg="mod ord">
          <ac:chgData name="Ziegler, Moritz" userId="64963377-0688-41ce-81de-c3adb053cc9f" providerId="ADAL" clId="{06E8612E-1905-4FD3-903D-3F804CCFF889}" dt="2023-04-17T20:29:33.657" v="9804"/>
          <ac:cxnSpMkLst>
            <pc:docMk/>
            <pc:sldMk cId="1660399850" sldId="264"/>
            <ac:cxnSpMk id="255" creationId="{DF418466-E6D1-997F-F3A2-236239ACEC61}"/>
          </ac:cxnSpMkLst>
        </pc:cxnChg>
        <pc:cxnChg chg="mod ord">
          <ac:chgData name="Ziegler, Moritz" userId="64963377-0688-41ce-81de-c3adb053cc9f" providerId="ADAL" clId="{06E8612E-1905-4FD3-903D-3F804CCFF889}" dt="2023-04-17T20:29:33.659" v="9808"/>
          <ac:cxnSpMkLst>
            <pc:docMk/>
            <pc:sldMk cId="1660399850" sldId="264"/>
            <ac:cxnSpMk id="256" creationId="{1E519A76-44B7-8BAA-F383-D8C04573140F}"/>
          </ac:cxnSpMkLst>
        </pc:cxnChg>
        <pc:cxnChg chg="mod ord">
          <ac:chgData name="Ziegler, Moritz" userId="64963377-0688-41ce-81de-c3adb053cc9f" providerId="ADAL" clId="{06E8612E-1905-4FD3-903D-3F804CCFF889}" dt="2023-04-17T20:29:33.660" v="9810"/>
          <ac:cxnSpMkLst>
            <pc:docMk/>
            <pc:sldMk cId="1660399850" sldId="264"/>
            <ac:cxnSpMk id="257" creationId="{B3A98F8B-041E-85E0-2B6E-D151A33A4458}"/>
          </ac:cxnSpMkLst>
        </pc:cxnChg>
        <pc:cxnChg chg="mod ord">
          <ac:chgData name="Ziegler, Moritz" userId="64963377-0688-41ce-81de-c3adb053cc9f" providerId="ADAL" clId="{06E8612E-1905-4FD3-903D-3F804CCFF889}" dt="2023-04-17T20:29:33.658" v="9806"/>
          <ac:cxnSpMkLst>
            <pc:docMk/>
            <pc:sldMk cId="1660399850" sldId="264"/>
            <ac:cxnSpMk id="258" creationId="{BD4039BA-5796-5B8D-EB8F-660BF72CFBEB}"/>
          </ac:cxnSpMkLst>
        </pc:cxnChg>
        <pc:cxnChg chg="mod ord">
          <ac:chgData name="Ziegler, Moritz" userId="64963377-0688-41ce-81de-c3adb053cc9f" providerId="ADAL" clId="{06E8612E-1905-4FD3-903D-3F804CCFF889}" dt="2023-04-17T20:29:33.660" v="9812"/>
          <ac:cxnSpMkLst>
            <pc:docMk/>
            <pc:sldMk cId="1660399850" sldId="264"/>
            <ac:cxnSpMk id="259" creationId="{CF769332-45ED-E208-E48F-CA824324E56F}"/>
          </ac:cxnSpMkLst>
        </pc:cxnChg>
        <pc:cxnChg chg="mod ord">
          <ac:chgData name="Ziegler, Moritz" userId="64963377-0688-41ce-81de-c3adb053cc9f" providerId="ADAL" clId="{06E8612E-1905-4FD3-903D-3F804CCFF889}" dt="2023-04-17T20:29:33.660" v="9814"/>
          <ac:cxnSpMkLst>
            <pc:docMk/>
            <pc:sldMk cId="1660399850" sldId="264"/>
            <ac:cxnSpMk id="260" creationId="{2E8C90A8-8917-E5B4-EBF7-09D191699E91}"/>
          </ac:cxnSpMkLst>
        </pc:cxnChg>
        <pc:cxnChg chg="mod ord">
          <ac:chgData name="Ziegler, Moritz" userId="64963377-0688-41ce-81de-c3adb053cc9f" providerId="ADAL" clId="{06E8612E-1905-4FD3-903D-3F804CCFF889}" dt="2023-04-17T20:29:33.661" v="9816"/>
          <ac:cxnSpMkLst>
            <pc:docMk/>
            <pc:sldMk cId="1660399850" sldId="264"/>
            <ac:cxnSpMk id="261" creationId="{B7EFBBBD-756E-3275-3AC3-618EDDAB417F}"/>
          </ac:cxnSpMkLst>
        </pc:cxnChg>
        <pc:cxnChg chg="mod ord">
          <ac:chgData name="Ziegler, Moritz" userId="64963377-0688-41ce-81de-c3adb053cc9f" providerId="ADAL" clId="{06E8612E-1905-4FD3-903D-3F804CCFF889}" dt="2023-04-17T20:29:33.662" v="9818"/>
          <ac:cxnSpMkLst>
            <pc:docMk/>
            <pc:sldMk cId="1660399850" sldId="264"/>
            <ac:cxnSpMk id="262" creationId="{C281940F-0F35-61CF-F190-704B65701E22}"/>
          </ac:cxnSpMkLst>
        </pc:cxnChg>
        <pc:cxnChg chg="mod ord">
          <ac:chgData name="Ziegler, Moritz" userId="64963377-0688-41ce-81de-c3adb053cc9f" providerId="ADAL" clId="{06E8612E-1905-4FD3-903D-3F804CCFF889}" dt="2023-04-17T20:29:33.662" v="9820"/>
          <ac:cxnSpMkLst>
            <pc:docMk/>
            <pc:sldMk cId="1660399850" sldId="264"/>
            <ac:cxnSpMk id="263" creationId="{94C87E28-89F8-F1DF-F6C7-5F879F45C33D}"/>
          </ac:cxnSpMkLst>
        </pc:cxnChg>
        <pc:cxnChg chg="mod ord">
          <ac:chgData name="Ziegler, Moritz" userId="64963377-0688-41ce-81de-c3adb053cc9f" providerId="ADAL" clId="{06E8612E-1905-4FD3-903D-3F804CCFF889}" dt="2023-04-17T20:29:33.662" v="9822"/>
          <ac:cxnSpMkLst>
            <pc:docMk/>
            <pc:sldMk cId="1660399850" sldId="264"/>
            <ac:cxnSpMk id="264" creationId="{117981A3-2C1A-2BC2-E39A-E8E26DC6E6FD}"/>
          </ac:cxnSpMkLst>
        </pc:cxnChg>
        <pc:cxnChg chg="mod ord">
          <ac:chgData name="Ziegler, Moritz" userId="64963377-0688-41ce-81de-c3adb053cc9f" providerId="ADAL" clId="{06E8612E-1905-4FD3-903D-3F804CCFF889}" dt="2023-04-17T20:29:33.666" v="9838"/>
          <ac:cxnSpMkLst>
            <pc:docMk/>
            <pc:sldMk cId="1660399850" sldId="264"/>
            <ac:cxnSpMk id="312" creationId="{1BDC2AE8-2D07-A94A-7A6E-F685EE180C3D}"/>
          </ac:cxnSpMkLst>
        </pc:cxnChg>
        <pc:cxnChg chg="mod ord">
          <ac:chgData name="Ziegler, Moritz" userId="64963377-0688-41ce-81de-c3adb053cc9f" providerId="ADAL" clId="{06E8612E-1905-4FD3-903D-3F804CCFF889}" dt="2023-04-17T20:29:33.667" v="9841"/>
          <ac:cxnSpMkLst>
            <pc:docMk/>
            <pc:sldMk cId="1660399850" sldId="264"/>
            <ac:cxnSpMk id="338" creationId="{A6768664-E408-DBFF-9BEC-84C36C7E7811}"/>
          </ac:cxnSpMkLst>
        </pc:cxnChg>
        <pc:cxnChg chg="mod ord">
          <ac:chgData name="Ziegler, Moritz" userId="64963377-0688-41ce-81de-c3adb053cc9f" providerId="ADAL" clId="{06E8612E-1905-4FD3-903D-3F804CCFF889}" dt="2023-04-17T20:29:33.662" v="9824"/>
          <ac:cxnSpMkLst>
            <pc:docMk/>
            <pc:sldMk cId="1660399850" sldId="264"/>
            <ac:cxnSpMk id="422" creationId="{42B96E2F-C8EF-1CAA-D3ED-ABAB4B6A41D7}"/>
          </ac:cxnSpMkLst>
        </pc:cxnChg>
      </pc:sldChg>
      <pc:sldChg chg="addSp delSp modSp mod modNotes">
        <pc:chgData name="Ziegler, Moritz" userId="64963377-0688-41ce-81de-c3adb053cc9f" providerId="ADAL" clId="{06E8612E-1905-4FD3-903D-3F804CCFF889}" dt="2023-04-17T20:29:33.803" v="10035"/>
        <pc:sldMkLst>
          <pc:docMk/>
          <pc:sldMk cId="480974552" sldId="265"/>
        </pc:sldMkLst>
        <pc:spChg chg="mod ord">
          <ac:chgData name="Ziegler, Moritz" userId="64963377-0688-41ce-81de-c3adb053cc9f" providerId="ADAL" clId="{06E8612E-1905-4FD3-903D-3F804CCFF889}" dt="2023-04-17T20:29:33.472" v="9495"/>
          <ac:spMkLst>
            <pc:docMk/>
            <pc:sldMk cId="480974552" sldId="265"/>
            <ac:spMk id="2" creationId="{0008C13E-07A0-6877-90B6-1FD1431569ED}"/>
          </ac:spMkLst>
        </pc:spChg>
        <pc:spChg chg="mod ord">
          <ac:chgData name="Ziegler, Moritz" userId="64963377-0688-41ce-81de-c3adb053cc9f" providerId="ADAL" clId="{06E8612E-1905-4FD3-903D-3F804CCFF889}" dt="2023-04-17T20:29:33.472" v="9497"/>
          <ac:spMkLst>
            <pc:docMk/>
            <pc:sldMk cId="480974552" sldId="265"/>
            <ac:spMk id="3" creationId="{235DDF0B-ED90-FB21-B832-174A765A2E8B}"/>
          </ac:spMkLst>
        </pc:spChg>
        <pc:spChg chg="mod">
          <ac:chgData name="Ziegler, Moritz" userId="64963377-0688-41ce-81de-c3adb053cc9f" providerId="ADAL" clId="{06E8612E-1905-4FD3-903D-3F804CCFF889}" dt="2023-04-17T20:29:33.481" v="9540"/>
          <ac:spMkLst>
            <pc:docMk/>
            <pc:sldMk cId="480974552" sldId="265"/>
            <ac:spMk id="4" creationId="{A0C43F60-2AD1-A3EC-F606-B09FEAFC42F7}"/>
          </ac:spMkLst>
        </pc:spChg>
        <pc:spChg chg="add del mod modVis">
          <ac:chgData name="Ziegler, Moritz" userId="64963377-0688-41ce-81de-c3adb053cc9f" providerId="ADAL" clId="{06E8612E-1905-4FD3-903D-3F804CCFF889}" dt="2023-04-17T20:29:14.016" v="8320"/>
          <ac:spMkLst>
            <pc:docMk/>
            <pc:sldMk cId="480974552" sldId="265"/>
            <ac:spMk id="5" creationId="{15DF626F-6FDC-FD4D-F889-3C16DBCB07CA}"/>
          </ac:spMkLst>
        </pc:spChg>
        <pc:spChg chg="add del mod modVis">
          <ac:chgData name="Ziegler, Moritz" userId="64963377-0688-41ce-81de-c3adb053cc9f" providerId="ADAL" clId="{06E8612E-1905-4FD3-903D-3F804CCFF889}" dt="2023-04-17T20:29:33.796" v="10033"/>
          <ac:spMkLst>
            <pc:docMk/>
            <pc:sldMk cId="480974552" sldId="265"/>
            <ac:spMk id="9" creationId="{B468A128-B875-96D7-EE54-C081456E95B9}"/>
          </ac:spMkLst>
        </pc:spChg>
        <pc:spChg chg="mod ord">
          <ac:chgData name="Ziegler, Moritz" userId="64963377-0688-41ce-81de-c3adb053cc9f" providerId="ADAL" clId="{06E8612E-1905-4FD3-903D-3F804CCFF889}" dt="2023-04-17T20:29:33.484" v="9554"/>
          <ac:spMkLst>
            <pc:docMk/>
            <pc:sldMk cId="480974552" sldId="265"/>
            <ac:spMk id="17" creationId="{60E57502-C88F-D6A1-AC14-CBC66C919B5E}"/>
          </ac:spMkLst>
        </pc:spChg>
        <pc:spChg chg="mod ord">
          <ac:chgData name="Ziegler, Moritz" userId="64963377-0688-41ce-81de-c3adb053cc9f" providerId="ADAL" clId="{06E8612E-1905-4FD3-903D-3F804CCFF889}" dt="2023-04-17T20:29:33.485" v="9556"/>
          <ac:spMkLst>
            <pc:docMk/>
            <pc:sldMk cId="480974552" sldId="265"/>
            <ac:spMk id="18" creationId="{E29C4D25-39BF-B3E6-DE7D-910965D7F029}"/>
          </ac:spMkLst>
        </pc:spChg>
        <pc:spChg chg="mod ord">
          <ac:chgData name="Ziegler, Moritz" userId="64963377-0688-41ce-81de-c3adb053cc9f" providerId="ADAL" clId="{06E8612E-1905-4FD3-903D-3F804CCFF889}" dt="2023-04-17T20:29:33.485" v="9558"/>
          <ac:spMkLst>
            <pc:docMk/>
            <pc:sldMk cId="480974552" sldId="265"/>
            <ac:spMk id="19" creationId="{E6E49DF0-07F2-E988-C123-85FF483629A2}"/>
          </ac:spMkLst>
        </pc:spChg>
        <pc:spChg chg="mod ord">
          <ac:chgData name="Ziegler, Moritz" userId="64963377-0688-41ce-81de-c3adb053cc9f" providerId="ADAL" clId="{06E8612E-1905-4FD3-903D-3F804CCFF889}" dt="2023-04-17T20:29:33.485" v="9560"/>
          <ac:spMkLst>
            <pc:docMk/>
            <pc:sldMk cId="480974552" sldId="265"/>
            <ac:spMk id="20" creationId="{4A3B98D8-BDE5-913F-F03F-ED3F027246E6}"/>
          </ac:spMkLst>
        </pc:spChg>
        <pc:spChg chg="mod">
          <ac:chgData name="Ziegler, Moritz" userId="64963377-0688-41ce-81de-c3adb053cc9f" providerId="ADAL" clId="{06E8612E-1905-4FD3-903D-3F804CCFF889}" dt="2023-04-17T20:29:33.480" v="9534"/>
          <ac:spMkLst>
            <pc:docMk/>
            <pc:sldMk cId="480974552" sldId="265"/>
            <ac:spMk id="23" creationId="{F3A34782-E3A2-CF42-9904-29EE5398AD9A}"/>
          </ac:spMkLst>
        </pc:spChg>
        <pc:spChg chg="mod ord">
          <ac:chgData name="Ziegler, Moritz" userId="64963377-0688-41ce-81de-c3adb053cc9f" providerId="ADAL" clId="{06E8612E-1905-4FD3-903D-3F804CCFF889}" dt="2023-04-17T20:29:33.482" v="9542"/>
          <ac:spMkLst>
            <pc:docMk/>
            <pc:sldMk cId="480974552" sldId="265"/>
            <ac:spMk id="28" creationId="{403DAB70-0BDB-F3D9-FB3E-26E44BE68F36}"/>
          </ac:spMkLst>
        </pc:spChg>
        <pc:spChg chg="mod ord">
          <ac:chgData name="Ziegler, Moritz" userId="64963377-0688-41ce-81de-c3adb053cc9f" providerId="ADAL" clId="{06E8612E-1905-4FD3-903D-3F804CCFF889}" dt="2023-04-17T20:29:33.482" v="9544"/>
          <ac:spMkLst>
            <pc:docMk/>
            <pc:sldMk cId="480974552" sldId="265"/>
            <ac:spMk id="31" creationId="{FD6F108F-C444-CD8D-6E9F-63289D85AAE3}"/>
          </ac:spMkLst>
        </pc:spChg>
        <pc:spChg chg="mod">
          <ac:chgData name="Ziegler, Moritz" userId="64963377-0688-41ce-81de-c3adb053cc9f" providerId="ADAL" clId="{06E8612E-1905-4FD3-903D-3F804CCFF889}" dt="2023-04-17T20:29:33.477" v="9522"/>
          <ac:spMkLst>
            <pc:docMk/>
            <pc:sldMk cId="480974552" sldId="265"/>
            <ac:spMk id="244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8" v="9523"/>
          <ac:spMkLst>
            <pc:docMk/>
            <pc:sldMk cId="480974552" sldId="265"/>
            <ac:spMk id="245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7" v="9521"/>
          <ac:spMkLst>
            <pc:docMk/>
            <pc:sldMk cId="480974552" sldId="265"/>
            <ac:spMk id="246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8" v="9525"/>
          <ac:spMkLst>
            <pc:docMk/>
            <pc:sldMk cId="480974552" sldId="265"/>
            <ac:spMk id="247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8" v="9526"/>
          <ac:spMkLst>
            <pc:docMk/>
            <pc:sldMk cId="480974552" sldId="265"/>
            <ac:spMk id="248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9" v="9527"/>
          <ac:spMkLst>
            <pc:docMk/>
            <pc:sldMk cId="480974552" sldId="265"/>
            <ac:spMk id="249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9" v="9528"/>
          <ac:spMkLst>
            <pc:docMk/>
            <pc:sldMk cId="480974552" sldId="265"/>
            <ac:spMk id="250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8" v="9524"/>
          <ac:spMkLst>
            <pc:docMk/>
            <pc:sldMk cId="480974552" sldId="265"/>
            <ac:spMk id="251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9" v="9529"/>
          <ac:spMkLst>
            <pc:docMk/>
            <pc:sldMk cId="480974552" sldId="265"/>
            <ac:spMk id="252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79" v="9530"/>
          <ac:spMkLst>
            <pc:docMk/>
            <pc:sldMk cId="480974552" sldId="265"/>
            <ac:spMk id="253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81" v="9539"/>
          <ac:spMkLst>
            <pc:docMk/>
            <pc:sldMk cId="480974552" sldId="265"/>
            <ac:spMk id="331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480" v="9531"/>
          <ac:spMkLst>
            <pc:docMk/>
            <pc:sldMk cId="480974552" sldId="265"/>
            <ac:spMk id="421" creationId="{F3A34782-E3A2-CF42-9904-29EE5398AD9A}"/>
          </ac:spMkLst>
        </pc:spChg>
        <pc:spChg chg="mod ord">
          <ac:chgData name="Ziegler, Moritz" userId="64963377-0688-41ce-81de-c3adb053cc9f" providerId="ADAL" clId="{06E8612E-1905-4FD3-903D-3F804CCFF889}" dt="2023-04-17T20:29:33.483" v="9546"/>
          <ac:spMkLst>
            <pc:docMk/>
            <pc:sldMk cId="480974552" sldId="265"/>
            <ac:spMk id="471" creationId="{A1530FBC-7DEC-9D81-1F82-74228BB8666B}"/>
          </ac:spMkLst>
        </pc:spChg>
        <pc:spChg chg="mod ord">
          <ac:chgData name="Ziegler, Moritz" userId="64963377-0688-41ce-81de-c3adb053cc9f" providerId="ADAL" clId="{06E8612E-1905-4FD3-903D-3F804CCFF889}" dt="2023-04-17T20:29:33.483" v="9548"/>
          <ac:spMkLst>
            <pc:docMk/>
            <pc:sldMk cId="480974552" sldId="265"/>
            <ac:spMk id="472" creationId="{7E35FF84-25B3-28B4-30C5-023243FFCCC3}"/>
          </ac:spMkLst>
        </pc:spChg>
        <pc:spChg chg="mod ord">
          <ac:chgData name="Ziegler, Moritz" userId="64963377-0688-41ce-81de-c3adb053cc9f" providerId="ADAL" clId="{06E8612E-1905-4FD3-903D-3F804CCFF889}" dt="2023-04-17T20:29:33.483" v="9550"/>
          <ac:spMkLst>
            <pc:docMk/>
            <pc:sldMk cId="480974552" sldId="265"/>
            <ac:spMk id="473" creationId="{5FD1B317-9CD0-E4F7-7567-08F1C79F3C4B}"/>
          </ac:spMkLst>
        </pc:spChg>
        <pc:spChg chg="mod ord">
          <ac:chgData name="Ziegler, Moritz" userId="64963377-0688-41ce-81de-c3adb053cc9f" providerId="ADAL" clId="{06E8612E-1905-4FD3-903D-3F804CCFF889}" dt="2023-04-17T20:29:33.484" v="9552"/>
          <ac:spMkLst>
            <pc:docMk/>
            <pc:sldMk cId="480974552" sldId="265"/>
            <ac:spMk id="475" creationId="{295D98B2-26BD-7D6C-C072-30ACCA39C2F3}"/>
          </ac:spMkLst>
        </pc:spChg>
        <pc:graphicFrameChg chg="add del mod replST">
          <ac:chgData name="Ziegler, Moritz" userId="64963377-0688-41ce-81de-c3adb053cc9f" providerId="ADAL" clId="{06E8612E-1905-4FD3-903D-3F804CCFF889}" dt="2023-04-17T20:29:33.432" v="9444"/>
          <ac:graphicFrameMkLst>
            <pc:docMk/>
            <pc:sldMk cId="480974552" sldId="265"/>
            <ac:graphicFrameMk id="6" creationId="{4B3B98C5-44DE-EA0E-6FF8-E2AB625A6F41}"/>
          </ac:graphicFrameMkLst>
        </pc:graphicFrameChg>
        <pc:graphicFrameChg chg="mod">
          <ac:chgData name="Ziegler, Moritz" userId="64963377-0688-41ce-81de-c3adb053cc9f" providerId="ADAL" clId="{06E8612E-1905-4FD3-903D-3F804CCFF889}" dt="2023-04-17T20:29:33.803" v="10035"/>
          <ac:graphicFrameMkLst>
            <pc:docMk/>
            <pc:sldMk cId="480974552" sldId="265"/>
            <ac:graphicFrameMk id="8" creationId="{E53F4BFB-987B-1DEA-A2CB-B5DAE0B35C97}"/>
          </ac:graphicFrameMkLst>
        </pc:graphicFrameChg>
        <pc:graphicFrameChg chg="add mod replST">
          <ac:chgData name="Ziegler, Moritz" userId="64963377-0688-41ce-81de-c3adb053cc9f" providerId="ADAL" clId="{06E8612E-1905-4FD3-903D-3F804CCFF889}" dt="2023-04-17T20:29:33.477" v="9520"/>
          <ac:graphicFrameMkLst>
            <pc:docMk/>
            <pc:sldMk cId="480974552" sldId="265"/>
            <ac:graphicFrameMk id="10" creationId="{938BB3FF-2063-FA14-0197-62972DA04A0A}"/>
          </ac:graphicFrameMkLst>
        </pc:graphicFrameChg>
        <pc:graphicFrameChg chg="del">
          <ac:chgData name="Ziegler, Moritz" userId="64963377-0688-41ce-81de-c3adb053cc9f" providerId="ADAL" clId="{06E8612E-1905-4FD3-903D-3F804CCFF889}" dt="2023-04-17T20:29:13.590" v="7594"/>
          <ac:graphicFrameMkLst>
            <pc:docMk/>
            <pc:sldMk cId="480974552" sldId="265"/>
            <ac:graphicFrameMk id="448" creationId="{699D640B-B2C2-0489-4235-D1009071F2BC}"/>
          </ac:graphicFrameMkLst>
        </pc:graphicFrameChg>
        <pc:cxnChg chg="mod ord">
          <ac:chgData name="Ziegler, Moritz" userId="64963377-0688-41ce-81de-c3adb053cc9f" providerId="ADAL" clId="{06E8612E-1905-4FD3-903D-3F804CCFF889}" dt="2023-04-17T20:29:33.481" v="9538"/>
          <ac:cxnSpMkLst>
            <pc:docMk/>
            <pc:sldMk cId="480974552" sldId="265"/>
            <ac:cxnSpMk id="7" creationId="{079E1550-10F9-C77A-2FDC-3091DCD17333}"/>
          </ac:cxnSpMkLst>
        </pc:cxnChg>
        <pc:cxnChg chg="mod ord">
          <ac:chgData name="Ziegler, Moritz" userId="64963377-0688-41ce-81de-c3adb053cc9f" providerId="ADAL" clId="{06E8612E-1905-4FD3-903D-3F804CCFF889}" dt="2023-04-17T20:29:33.473" v="9503"/>
          <ac:cxnSpMkLst>
            <pc:docMk/>
            <pc:sldMk cId="480974552" sldId="265"/>
            <ac:cxnSpMk id="255" creationId="{DF418466-E6D1-997F-F3A2-236239ACEC61}"/>
          </ac:cxnSpMkLst>
        </pc:cxnChg>
        <pc:cxnChg chg="mod ord">
          <ac:chgData name="Ziegler, Moritz" userId="64963377-0688-41ce-81de-c3adb053cc9f" providerId="ADAL" clId="{06E8612E-1905-4FD3-903D-3F804CCFF889}" dt="2023-04-17T20:29:33.474" v="9507"/>
          <ac:cxnSpMkLst>
            <pc:docMk/>
            <pc:sldMk cId="480974552" sldId="265"/>
            <ac:cxnSpMk id="256" creationId="{1E519A76-44B7-8BAA-F383-D8C04573140F}"/>
          </ac:cxnSpMkLst>
        </pc:cxnChg>
        <pc:cxnChg chg="mod ord">
          <ac:chgData name="Ziegler, Moritz" userId="64963377-0688-41ce-81de-c3adb053cc9f" providerId="ADAL" clId="{06E8612E-1905-4FD3-903D-3F804CCFF889}" dt="2023-04-17T20:29:33.472" v="9499"/>
          <ac:cxnSpMkLst>
            <pc:docMk/>
            <pc:sldMk cId="480974552" sldId="265"/>
            <ac:cxnSpMk id="257" creationId="{B3A98F8B-041E-85E0-2B6E-D151A33A4458}"/>
          </ac:cxnSpMkLst>
        </pc:cxnChg>
        <pc:cxnChg chg="mod ord">
          <ac:chgData name="Ziegler, Moritz" userId="64963377-0688-41ce-81de-c3adb053cc9f" providerId="ADAL" clId="{06E8612E-1905-4FD3-903D-3F804CCFF889}" dt="2023-04-17T20:29:33.473" v="9501"/>
          <ac:cxnSpMkLst>
            <pc:docMk/>
            <pc:sldMk cId="480974552" sldId="265"/>
            <ac:cxnSpMk id="258" creationId="{BD4039BA-5796-5B8D-EB8F-660BF72CFBEB}"/>
          </ac:cxnSpMkLst>
        </pc:cxnChg>
        <pc:cxnChg chg="mod ord">
          <ac:chgData name="Ziegler, Moritz" userId="64963377-0688-41ce-81de-c3adb053cc9f" providerId="ADAL" clId="{06E8612E-1905-4FD3-903D-3F804CCFF889}" dt="2023-04-17T20:29:33.474" v="9509"/>
          <ac:cxnSpMkLst>
            <pc:docMk/>
            <pc:sldMk cId="480974552" sldId="265"/>
            <ac:cxnSpMk id="259" creationId="{CF769332-45ED-E208-E48F-CA824324E56F}"/>
          </ac:cxnSpMkLst>
        </pc:cxnChg>
        <pc:cxnChg chg="mod ord">
          <ac:chgData name="Ziegler, Moritz" userId="64963377-0688-41ce-81de-c3adb053cc9f" providerId="ADAL" clId="{06E8612E-1905-4FD3-903D-3F804CCFF889}" dt="2023-04-17T20:29:33.474" v="9511"/>
          <ac:cxnSpMkLst>
            <pc:docMk/>
            <pc:sldMk cId="480974552" sldId="265"/>
            <ac:cxnSpMk id="260" creationId="{2E8C90A8-8917-E5B4-EBF7-09D191699E91}"/>
          </ac:cxnSpMkLst>
        </pc:cxnChg>
        <pc:cxnChg chg="mod ord">
          <ac:chgData name="Ziegler, Moritz" userId="64963377-0688-41ce-81de-c3adb053cc9f" providerId="ADAL" clId="{06E8612E-1905-4FD3-903D-3F804CCFF889}" dt="2023-04-17T20:29:33.473" v="9505"/>
          <ac:cxnSpMkLst>
            <pc:docMk/>
            <pc:sldMk cId="480974552" sldId="265"/>
            <ac:cxnSpMk id="261" creationId="{B7EFBBBD-756E-3275-3AC3-618EDDAB417F}"/>
          </ac:cxnSpMkLst>
        </pc:cxnChg>
        <pc:cxnChg chg="mod ord">
          <ac:chgData name="Ziegler, Moritz" userId="64963377-0688-41ce-81de-c3adb053cc9f" providerId="ADAL" clId="{06E8612E-1905-4FD3-903D-3F804CCFF889}" dt="2023-04-17T20:29:33.475" v="9513"/>
          <ac:cxnSpMkLst>
            <pc:docMk/>
            <pc:sldMk cId="480974552" sldId="265"/>
            <ac:cxnSpMk id="262" creationId="{C281940F-0F35-61CF-F190-704B65701E22}"/>
          </ac:cxnSpMkLst>
        </pc:cxnChg>
        <pc:cxnChg chg="mod ord">
          <ac:chgData name="Ziegler, Moritz" userId="64963377-0688-41ce-81de-c3adb053cc9f" providerId="ADAL" clId="{06E8612E-1905-4FD3-903D-3F804CCFF889}" dt="2023-04-17T20:29:33.476" v="9515"/>
          <ac:cxnSpMkLst>
            <pc:docMk/>
            <pc:sldMk cId="480974552" sldId="265"/>
            <ac:cxnSpMk id="263" creationId="{94C87E28-89F8-F1DF-F6C7-5F879F45C33D}"/>
          </ac:cxnSpMkLst>
        </pc:cxnChg>
        <pc:cxnChg chg="mod ord">
          <ac:chgData name="Ziegler, Moritz" userId="64963377-0688-41ce-81de-c3adb053cc9f" providerId="ADAL" clId="{06E8612E-1905-4FD3-903D-3F804CCFF889}" dt="2023-04-17T20:29:33.476" v="9517"/>
          <ac:cxnSpMkLst>
            <pc:docMk/>
            <pc:sldMk cId="480974552" sldId="265"/>
            <ac:cxnSpMk id="264" creationId="{117981A3-2C1A-2BC2-E39A-E8E26DC6E6FD}"/>
          </ac:cxnSpMkLst>
        </pc:cxnChg>
        <pc:cxnChg chg="mod ord">
          <ac:chgData name="Ziegler, Moritz" userId="64963377-0688-41ce-81de-c3adb053cc9f" providerId="ADAL" clId="{06E8612E-1905-4FD3-903D-3F804CCFF889}" dt="2023-04-17T20:29:33.480" v="9533"/>
          <ac:cxnSpMkLst>
            <pc:docMk/>
            <pc:sldMk cId="480974552" sldId="265"/>
            <ac:cxnSpMk id="312" creationId="{1BDC2AE8-2D07-A94A-7A6E-F685EE180C3D}"/>
          </ac:cxnSpMkLst>
        </pc:cxnChg>
        <pc:cxnChg chg="mod ord">
          <ac:chgData name="Ziegler, Moritz" userId="64963377-0688-41ce-81de-c3adb053cc9f" providerId="ADAL" clId="{06E8612E-1905-4FD3-903D-3F804CCFF889}" dt="2023-04-17T20:29:33.481" v="9536"/>
          <ac:cxnSpMkLst>
            <pc:docMk/>
            <pc:sldMk cId="480974552" sldId="265"/>
            <ac:cxnSpMk id="338" creationId="{A6768664-E408-DBFF-9BEC-84C36C7E7811}"/>
          </ac:cxnSpMkLst>
        </pc:cxnChg>
        <pc:cxnChg chg="mod ord">
          <ac:chgData name="Ziegler, Moritz" userId="64963377-0688-41ce-81de-c3adb053cc9f" providerId="ADAL" clId="{06E8612E-1905-4FD3-903D-3F804CCFF889}" dt="2023-04-17T20:29:33.477" v="9519"/>
          <ac:cxnSpMkLst>
            <pc:docMk/>
            <pc:sldMk cId="480974552" sldId="265"/>
            <ac:cxnSpMk id="422" creationId="{42B96E2F-C8EF-1CAA-D3ED-ABAB4B6A41D7}"/>
          </ac:cxnSpMkLst>
        </pc:cxnChg>
      </pc:sldChg>
      <pc:sldChg chg="addSp delSp modSp mod modNotes">
        <pc:chgData name="Ziegler, Moritz" userId="64963377-0688-41ce-81de-c3adb053cc9f" providerId="ADAL" clId="{06E8612E-1905-4FD3-903D-3F804CCFF889}" dt="2023-04-17T20:29:33.816" v="10043"/>
        <pc:sldMkLst>
          <pc:docMk/>
          <pc:sldMk cId="2717307076" sldId="266"/>
        </pc:sldMkLst>
        <pc:spChg chg="mod ord">
          <ac:chgData name="Ziegler, Moritz" userId="64963377-0688-41ce-81de-c3adb053cc9f" providerId="ADAL" clId="{06E8612E-1905-4FD3-903D-3F804CCFF889}" dt="2023-04-17T20:29:33.566" v="9663"/>
          <ac:spMkLst>
            <pc:docMk/>
            <pc:sldMk cId="2717307076" sldId="266"/>
            <ac:spMk id="2" creationId="{0008C13E-07A0-6877-90B6-1FD1431569ED}"/>
          </ac:spMkLst>
        </pc:spChg>
        <pc:spChg chg="mod ord">
          <ac:chgData name="Ziegler, Moritz" userId="64963377-0688-41ce-81de-c3adb053cc9f" providerId="ADAL" clId="{06E8612E-1905-4FD3-903D-3F804CCFF889}" dt="2023-04-17T20:29:33.566" v="9665"/>
          <ac:spMkLst>
            <pc:docMk/>
            <pc:sldMk cId="2717307076" sldId="266"/>
            <ac:spMk id="3" creationId="{235DDF0B-ED90-FB21-B832-174A765A2E8B}"/>
          </ac:spMkLst>
        </pc:spChg>
        <pc:spChg chg="mod">
          <ac:chgData name="Ziegler, Moritz" userId="64963377-0688-41ce-81de-c3adb053cc9f" providerId="ADAL" clId="{06E8612E-1905-4FD3-903D-3F804CCFF889}" dt="2023-04-17T20:29:33.578" v="9711"/>
          <ac:spMkLst>
            <pc:docMk/>
            <pc:sldMk cId="2717307076" sldId="266"/>
            <ac:spMk id="4" creationId="{A0C43F60-2AD1-A3EC-F606-B09FEAFC42F7}"/>
          </ac:spMkLst>
        </pc:spChg>
        <pc:spChg chg="mod">
          <ac:chgData name="Ziegler, Moritz" userId="64963377-0688-41ce-81de-c3adb053cc9f" providerId="ADAL" clId="{06E8612E-1905-4FD3-903D-3F804CCFF889}" dt="2023-04-17T20:29:33.577" v="9710"/>
          <ac:spMkLst>
            <pc:docMk/>
            <pc:sldMk cId="2717307076" sldId="266"/>
            <ac:spMk id="5" creationId="{27B86DC3-EE07-8319-F85B-24AD15088038}"/>
          </ac:spMkLst>
        </pc:spChg>
        <pc:spChg chg="add del mod modVis">
          <ac:chgData name="Ziegler, Moritz" userId="64963377-0688-41ce-81de-c3adb053cc9f" providerId="ADAL" clId="{06E8612E-1905-4FD3-903D-3F804CCFF889}" dt="2023-04-17T20:29:14.043" v="8342"/>
          <ac:spMkLst>
            <pc:docMk/>
            <pc:sldMk cId="2717307076" sldId="266"/>
            <ac:spMk id="6" creationId="{9CFB7D38-716E-42C6-4242-E690FAD70C29}"/>
          </ac:spMkLst>
        </pc:spChg>
        <pc:spChg chg="add del mod modVis">
          <ac:chgData name="Ziegler, Moritz" userId="64963377-0688-41ce-81de-c3adb053cc9f" providerId="ADAL" clId="{06E8612E-1905-4FD3-903D-3F804CCFF889}" dt="2023-04-17T20:29:33.806" v="10041"/>
          <ac:spMkLst>
            <pc:docMk/>
            <pc:sldMk cId="2717307076" sldId="266"/>
            <ac:spMk id="11" creationId="{A43C9B7D-701F-96B5-A946-2F45DF856B4F}"/>
          </ac:spMkLst>
        </pc:spChg>
        <pc:spChg chg="mod ord">
          <ac:chgData name="Ziegler, Moritz" userId="64963377-0688-41ce-81de-c3adb053cc9f" providerId="ADAL" clId="{06E8612E-1905-4FD3-903D-3F804CCFF889}" dt="2023-04-17T20:29:33.579" v="9719"/>
          <ac:spMkLst>
            <pc:docMk/>
            <pc:sldMk cId="2717307076" sldId="266"/>
            <ac:spMk id="21" creationId="{D1CFB07A-7D02-217A-54B1-A7A1F4154DA7}"/>
          </ac:spMkLst>
        </pc:spChg>
        <pc:spChg chg="mod ord">
          <ac:chgData name="Ziegler, Moritz" userId="64963377-0688-41ce-81de-c3adb053cc9f" providerId="ADAL" clId="{06E8612E-1905-4FD3-903D-3F804CCFF889}" dt="2023-04-17T20:29:33.580" v="9721"/>
          <ac:spMkLst>
            <pc:docMk/>
            <pc:sldMk cId="2717307076" sldId="266"/>
            <ac:spMk id="23" creationId="{696A4B8D-F990-287F-E8C7-59DB341E2C9A}"/>
          </ac:spMkLst>
        </pc:spChg>
        <pc:spChg chg="mod ord">
          <ac:chgData name="Ziegler, Moritz" userId="64963377-0688-41ce-81de-c3adb053cc9f" providerId="ADAL" clId="{06E8612E-1905-4FD3-903D-3F804CCFF889}" dt="2023-04-17T20:29:33.580" v="9723"/>
          <ac:spMkLst>
            <pc:docMk/>
            <pc:sldMk cId="2717307076" sldId="266"/>
            <ac:spMk id="24" creationId="{1C8A085A-A8D9-480F-C5B1-0308A4EC8368}"/>
          </ac:spMkLst>
        </pc:spChg>
        <pc:spChg chg="mod">
          <ac:chgData name="Ziegler, Moritz" userId="64963377-0688-41ce-81de-c3adb053cc9f" providerId="ADAL" clId="{06E8612E-1905-4FD3-903D-3F804CCFF889}" dt="2023-04-17T20:29:33.575" v="9702"/>
          <ac:spMkLst>
            <pc:docMk/>
            <pc:sldMk cId="2717307076" sldId="266"/>
            <ac:spMk id="26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2.139" v="8531" actId="790"/>
          <ac:spMkLst>
            <pc:docMk/>
            <pc:sldMk cId="2717307076" sldId="266"/>
            <ac:spMk id="28" creationId="{403DAB70-0BDB-F3D9-FB3E-26E44BE68F36}"/>
          </ac:spMkLst>
        </pc:spChg>
        <pc:spChg chg="mod ord">
          <ac:chgData name="Ziegler, Moritz" userId="64963377-0688-41ce-81de-c3adb053cc9f" providerId="ADAL" clId="{06E8612E-1905-4FD3-903D-3F804CCFF889}" dt="2023-04-17T20:29:33.579" v="9713"/>
          <ac:spMkLst>
            <pc:docMk/>
            <pc:sldMk cId="2717307076" sldId="266"/>
            <ac:spMk id="31" creationId="{FD6F108F-C444-CD8D-6E9F-63289D85AAE3}"/>
          </ac:spMkLst>
        </pc:spChg>
        <pc:spChg chg="mod">
          <ac:chgData name="Ziegler, Moritz" userId="64963377-0688-41ce-81de-c3adb053cc9f" providerId="ADAL" clId="{06E8612E-1905-4FD3-903D-3F804CCFF889}" dt="2023-04-17T20:29:33.572" v="9692"/>
          <ac:spMkLst>
            <pc:docMk/>
            <pc:sldMk cId="2717307076" sldId="266"/>
            <ac:spMk id="244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3" v="9694"/>
          <ac:spMkLst>
            <pc:docMk/>
            <pc:sldMk cId="2717307076" sldId="266"/>
            <ac:spMk id="245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2" v="9690"/>
          <ac:spMkLst>
            <pc:docMk/>
            <pc:sldMk cId="2717307076" sldId="266"/>
            <ac:spMk id="246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2" v="9689"/>
          <ac:spMkLst>
            <pc:docMk/>
            <pc:sldMk cId="2717307076" sldId="266"/>
            <ac:spMk id="247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3" v="9695"/>
          <ac:spMkLst>
            <pc:docMk/>
            <pc:sldMk cId="2717307076" sldId="266"/>
            <ac:spMk id="248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3" v="9696"/>
          <ac:spMkLst>
            <pc:docMk/>
            <pc:sldMk cId="2717307076" sldId="266"/>
            <ac:spMk id="249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3" v="9693"/>
          <ac:spMkLst>
            <pc:docMk/>
            <pc:sldMk cId="2717307076" sldId="266"/>
            <ac:spMk id="250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4" v="9697"/>
          <ac:spMkLst>
            <pc:docMk/>
            <pc:sldMk cId="2717307076" sldId="266"/>
            <ac:spMk id="251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2" v="9691"/>
          <ac:spMkLst>
            <pc:docMk/>
            <pc:sldMk cId="2717307076" sldId="266"/>
            <ac:spMk id="252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4" v="9698"/>
          <ac:spMkLst>
            <pc:docMk/>
            <pc:sldMk cId="2717307076" sldId="266"/>
            <ac:spMk id="253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7" v="9709"/>
          <ac:spMkLst>
            <pc:docMk/>
            <pc:sldMk cId="2717307076" sldId="266"/>
            <ac:spMk id="331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3.574" v="9699"/>
          <ac:spMkLst>
            <pc:docMk/>
            <pc:sldMk cId="2717307076" sldId="266"/>
            <ac:spMk id="421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2.139" v="8532" actId="790"/>
          <ac:spMkLst>
            <pc:docMk/>
            <pc:sldMk cId="2717307076" sldId="266"/>
            <ac:spMk id="471" creationId="{A1530FBC-7DEC-9D81-1F82-74228BB8666B}"/>
          </ac:spMkLst>
        </pc:spChg>
        <pc:spChg chg="mod ord">
          <ac:chgData name="Ziegler, Moritz" userId="64963377-0688-41ce-81de-c3adb053cc9f" providerId="ADAL" clId="{06E8612E-1905-4FD3-903D-3F804CCFF889}" dt="2023-04-17T20:29:33.579" v="9715"/>
          <ac:spMkLst>
            <pc:docMk/>
            <pc:sldMk cId="2717307076" sldId="266"/>
            <ac:spMk id="472" creationId="{7E35FF84-25B3-28B4-30C5-023243FFCCC3}"/>
          </ac:spMkLst>
        </pc:spChg>
        <pc:spChg chg="mod ord">
          <ac:chgData name="Ziegler, Moritz" userId="64963377-0688-41ce-81de-c3adb053cc9f" providerId="ADAL" clId="{06E8612E-1905-4FD3-903D-3F804CCFF889}" dt="2023-04-17T20:29:33.579" v="9717"/>
          <ac:spMkLst>
            <pc:docMk/>
            <pc:sldMk cId="2717307076" sldId="266"/>
            <ac:spMk id="475" creationId="{295D98B2-26BD-7D6C-C072-30ACCA39C2F3}"/>
          </ac:spMkLst>
        </pc:spChg>
        <pc:grpChg chg="mod ord">
          <ac:chgData name="Ziegler, Moritz" userId="64963377-0688-41ce-81de-c3adb053cc9f" providerId="ADAL" clId="{06E8612E-1905-4FD3-903D-3F804CCFF889}" dt="2023-04-17T20:29:33.566" v="9661"/>
          <ac:grpSpMkLst>
            <pc:docMk/>
            <pc:sldMk cId="2717307076" sldId="266"/>
            <ac:grpSpMk id="14" creationId="{4ADB8F3B-BE40-3508-80D1-5F000B1B5BC2}"/>
          </ac:grpSpMkLst>
        </pc:grpChg>
        <pc:graphicFrameChg chg="mod">
          <ac:chgData name="Ziegler, Moritz" userId="64963377-0688-41ce-81de-c3adb053cc9f" providerId="ADAL" clId="{06E8612E-1905-4FD3-903D-3F804CCFF889}" dt="2023-04-17T20:29:33.816" v="10043"/>
          <ac:graphicFrameMkLst>
            <pc:docMk/>
            <pc:sldMk cId="2717307076" sldId="266"/>
            <ac:graphicFrameMk id="8" creationId="{E53F4BFB-987B-1DEA-A2CB-B5DAE0B35C97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9:33.527" v="9598"/>
          <ac:graphicFrameMkLst>
            <pc:docMk/>
            <pc:sldMk cId="2717307076" sldId="266"/>
            <ac:graphicFrameMk id="9" creationId="{3669D53A-2E54-5E90-D895-63E66736D830}"/>
          </ac:graphicFrameMkLst>
        </pc:graphicFrameChg>
        <pc:graphicFrameChg chg="add mod replST">
          <ac:chgData name="Ziegler, Moritz" userId="64963377-0688-41ce-81de-c3adb053cc9f" providerId="ADAL" clId="{06E8612E-1905-4FD3-903D-3F804CCFF889}" dt="2023-04-17T20:29:33.571" v="9688"/>
          <ac:graphicFrameMkLst>
            <pc:docMk/>
            <pc:sldMk cId="2717307076" sldId="266"/>
            <ac:graphicFrameMk id="12" creationId="{31A5857A-4B77-C4A0-4D23-79B9A871B220}"/>
          </ac:graphicFrameMkLst>
        </pc:graphicFrameChg>
        <pc:graphicFrameChg chg="del">
          <ac:chgData name="Ziegler, Moritz" userId="64963377-0688-41ce-81de-c3adb053cc9f" providerId="ADAL" clId="{06E8612E-1905-4FD3-903D-3F804CCFF889}" dt="2023-04-17T20:29:13.723" v="7829"/>
          <ac:graphicFrameMkLst>
            <pc:docMk/>
            <pc:sldMk cId="2717307076" sldId="266"/>
            <ac:graphicFrameMk id="449" creationId="{4D76B5A4-D98D-2556-C675-078787CA4863}"/>
          </ac:graphicFrameMkLst>
        </pc:graphicFrameChg>
        <pc:cxnChg chg="mod ord">
          <ac:chgData name="Ziegler, Moritz" userId="64963377-0688-41ce-81de-c3adb053cc9f" providerId="ADAL" clId="{06E8612E-1905-4FD3-903D-3F804CCFF889}" dt="2023-04-17T20:29:33.576" v="9706"/>
          <ac:cxnSpMkLst>
            <pc:docMk/>
            <pc:sldMk cId="2717307076" sldId="266"/>
            <ac:cxnSpMk id="7" creationId="{079E1550-10F9-C77A-2FDC-3091DCD17333}"/>
          </ac:cxnSpMkLst>
        </pc:cxnChg>
        <pc:cxnChg chg="mod ord">
          <ac:chgData name="Ziegler, Moritz" userId="64963377-0688-41ce-81de-c3adb053cc9f" providerId="ADAL" clId="{06E8612E-1905-4FD3-903D-3F804CCFF889}" dt="2023-04-17T20:29:33.577" v="9708"/>
          <ac:cxnSpMkLst>
            <pc:docMk/>
            <pc:sldMk cId="2717307076" sldId="266"/>
            <ac:cxnSpMk id="10" creationId="{324F49DE-8D32-FA2E-3C05-20F08C869DC8}"/>
          </ac:cxnSpMkLst>
        </pc:cxnChg>
        <pc:cxnChg chg="mod ord">
          <ac:chgData name="Ziegler, Moritz" userId="64963377-0688-41ce-81de-c3adb053cc9f" providerId="ADAL" clId="{06E8612E-1905-4FD3-903D-3F804CCFF889}" dt="2023-04-17T20:29:33.567" v="9669"/>
          <ac:cxnSpMkLst>
            <pc:docMk/>
            <pc:sldMk cId="2717307076" sldId="266"/>
            <ac:cxnSpMk id="255" creationId="{DF418466-E6D1-997F-F3A2-236239ACEC61}"/>
          </ac:cxnSpMkLst>
        </pc:cxnChg>
        <pc:cxnChg chg="mod ord">
          <ac:chgData name="Ziegler, Moritz" userId="64963377-0688-41ce-81de-c3adb053cc9f" providerId="ADAL" clId="{06E8612E-1905-4FD3-903D-3F804CCFF889}" dt="2023-04-17T20:29:33.567" v="9667"/>
          <ac:cxnSpMkLst>
            <pc:docMk/>
            <pc:sldMk cId="2717307076" sldId="266"/>
            <ac:cxnSpMk id="256" creationId="{1E519A76-44B7-8BAA-F383-D8C04573140F}"/>
          </ac:cxnSpMkLst>
        </pc:cxnChg>
        <pc:cxnChg chg="mod ord">
          <ac:chgData name="Ziegler, Moritz" userId="64963377-0688-41ce-81de-c3adb053cc9f" providerId="ADAL" clId="{06E8612E-1905-4FD3-903D-3F804CCFF889}" dt="2023-04-17T20:29:33.567" v="9671"/>
          <ac:cxnSpMkLst>
            <pc:docMk/>
            <pc:sldMk cId="2717307076" sldId="266"/>
            <ac:cxnSpMk id="257" creationId="{B3A98F8B-041E-85E0-2B6E-D151A33A4458}"/>
          </ac:cxnSpMkLst>
        </pc:cxnChg>
        <pc:cxnChg chg="mod ord">
          <ac:chgData name="Ziegler, Moritz" userId="64963377-0688-41ce-81de-c3adb053cc9f" providerId="ADAL" clId="{06E8612E-1905-4FD3-903D-3F804CCFF889}" dt="2023-04-17T20:29:33.568" v="9675"/>
          <ac:cxnSpMkLst>
            <pc:docMk/>
            <pc:sldMk cId="2717307076" sldId="266"/>
            <ac:cxnSpMk id="258" creationId="{BD4039BA-5796-5B8D-EB8F-660BF72CFBEB}"/>
          </ac:cxnSpMkLst>
        </pc:cxnChg>
        <pc:cxnChg chg="mod ord">
          <ac:chgData name="Ziegler, Moritz" userId="64963377-0688-41ce-81de-c3adb053cc9f" providerId="ADAL" clId="{06E8612E-1905-4FD3-903D-3F804CCFF889}" dt="2023-04-17T20:29:33.569" v="9677"/>
          <ac:cxnSpMkLst>
            <pc:docMk/>
            <pc:sldMk cId="2717307076" sldId="266"/>
            <ac:cxnSpMk id="259" creationId="{CF769332-45ED-E208-E48F-CA824324E56F}"/>
          </ac:cxnSpMkLst>
        </pc:cxnChg>
        <pc:cxnChg chg="mod ord">
          <ac:chgData name="Ziegler, Moritz" userId="64963377-0688-41ce-81de-c3adb053cc9f" providerId="ADAL" clId="{06E8612E-1905-4FD3-903D-3F804CCFF889}" dt="2023-04-17T20:29:33.568" v="9673"/>
          <ac:cxnSpMkLst>
            <pc:docMk/>
            <pc:sldMk cId="2717307076" sldId="266"/>
            <ac:cxnSpMk id="260" creationId="{2E8C90A8-8917-E5B4-EBF7-09D191699E91}"/>
          </ac:cxnSpMkLst>
        </pc:cxnChg>
        <pc:cxnChg chg="mod ord">
          <ac:chgData name="Ziegler, Moritz" userId="64963377-0688-41ce-81de-c3adb053cc9f" providerId="ADAL" clId="{06E8612E-1905-4FD3-903D-3F804CCFF889}" dt="2023-04-17T20:29:33.569" v="9679"/>
          <ac:cxnSpMkLst>
            <pc:docMk/>
            <pc:sldMk cId="2717307076" sldId="266"/>
            <ac:cxnSpMk id="261" creationId="{B7EFBBBD-756E-3275-3AC3-618EDDAB417F}"/>
          </ac:cxnSpMkLst>
        </pc:cxnChg>
        <pc:cxnChg chg="mod ord">
          <ac:chgData name="Ziegler, Moritz" userId="64963377-0688-41ce-81de-c3adb053cc9f" providerId="ADAL" clId="{06E8612E-1905-4FD3-903D-3F804CCFF889}" dt="2023-04-17T20:29:33.570" v="9683"/>
          <ac:cxnSpMkLst>
            <pc:docMk/>
            <pc:sldMk cId="2717307076" sldId="266"/>
            <ac:cxnSpMk id="262" creationId="{C281940F-0F35-61CF-F190-704B65701E22}"/>
          </ac:cxnSpMkLst>
        </pc:cxnChg>
        <pc:cxnChg chg="mod ord">
          <ac:chgData name="Ziegler, Moritz" userId="64963377-0688-41ce-81de-c3adb053cc9f" providerId="ADAL" clId="{06E8612E-1905-4FD3-903D-3F804CCFF889}" dt="2023-04-17T20:29:33.570" v="9685"/>
          <ac:cxnSpMkLst>
            <pc:docMk/>
            <pc:sldMk cId="2717307076" sldId="266"/>
            <ac:cxnSpMk id="263" creationId="{94C87E28-89F8-F1DF-F6C7-5F879F45C33D}"/>
          </ac:cxnSpMkLst>
        </pc:cxnChg>
        <pc:cxnChg chg="mod ord">
          <ac:chgData name="Ziegler, Moritz" userId="64963377-0688-41ce-81de-c3adb053cc9f" providerId="ADAL" clId="{06E8612E-1905-4FD3-903D-3F804CCFF889}" dt="2023-04-17T20:29:33.571" v="9687"/>
          <ac:cxnSpMkLst>
            <pc:docMk/>
            <pc:sldMk cId="2717307076" sldId="266"/>
            <ac:cxnSpMk id="264" creationId="{117981A3-2C1A-2BC2-E39A-E8E26DC6E6FD}"/>
          </ac:cxnSpMkLst>
        </pc:cxnChg>
        <pc:cxnChg chg="mod ord">
          <ac:chgData name="Ziegler, Moritz" userId="64963377-0688-41ce-81de-c3adb053cc9f" providerId="ADAL" clId="{06E8612E-1905-4FD3-903D-3F804CCFF889}" dt="2023-04-17T20:29:33.575" v="9701"/>
          <ac:cxnSpMkLst>
            <pc:docMk/>
            <pc:sldMk cId="2717307076" sldId="266"/>
            <ac:cxnSpMk id="312" creationId="{1BDC2AE8-2D07-A94A-7A6E-F685EE180C3D}"/>
          </ac:cxnSpMkLst>
        </pc:cxnChg>
        <pc:cxnChg chg="mod ord">
          <ac:chgData name="Ziegler, Moritz" userId="64963377-0688-41ce-81de-c3adb053cc9f" providerId="ADAL" clId="{06E8612E-1905-4FD3-903D-3F804CCFF889}" dt="2023-04-17T20:29:33.576" v="9704"/>
          <ac:cxnSpMkLst>
            <pc:docMk/>
            <pc:sldMk cId="2717307076" sldId="266"/>
            <ac:cxnSpMk id="338" creationId="{A6768664-E408-DBFF-9BEC-84C36C7E7811}"/>
          </ac:cxnSpMkLst>
        </pc:cxnChg>
        <pc:cxnChg chg="mod ord">
          <ac:chgData name="Ziegler, Moritz" userId="64963377-0688-41ce-81de-c3adb053cc9f" providerId="ADAL" clId="{06E8612E-1905-4FD3-903D-3F804CCFF889}" dt="2023-04-17T20:29:33.570" v="9681"/>
          <ac:cxnSpMkLst>
            <pc:docMk/>
            <pc:sldMk cId="2717307076" sldId="266"/>
            <ac:cxnSpMk id="422" creationId="{42B96E2F-C8EF-1CAA-D3ED-ABAB4B6A41D7}"/>
          </ac:cxnSpMkLst>
        </pc:cxnChg>
      </pc:sldChg>
      <pc:sldChg chg="modSp mod ord modTransition modShow modNotes">
        <pc:chgData name="Ziegler, Moritz" userId="64963377-0688-41ce-81de-c3adb053cc9f" providerId="ADAL" clId="{06E8612E-1905-4FD3-903D-3F804CCFF889}" dt="2023-04-17T20:29:32.285" v="8703" actId="790"/>
        <pc:sldMkLst>
          <pc:docMk/>
          <pc:sldMk cId="3697549462" sldId="267"/>
        </pc:sldMkLst>
        <pc:spChg chg="mod">
          <ac:chgData name="Ziegler, Moritz" userId="64963377-0688-41ce-81de-c3adb053cc9f" providerId="ADAL" clId="{06E8612E-1905-4FD3-903D-3F804CCFF889}" dt="2023-04-17T20:29:32.253" v="8678" actId="790"/>
          <ac:spMkLst>
            <pc:docMk/>
            <pc:sldMk cId="3697549462" sldId="267"/>
            <ac:spMk id="2" creationId="{CA8E5358-055B-4275-B94E-995EBA37DE97}"/>
          </ac:spMkLst>
        </pc:spChg>
        <pc:spChg chg="mod">
          <ac:chgData name="Ziegler, Moritz" userId="64963377-0688-41ce-81de-c3adb053cc9f" providerId="ADAL" clId="{06E8612E-1905-4FD3-903D-3F804CCFF889}" dt="2023-04-17T20:29:32.253" v="8679" actId="790"/>
          <ac:spMkLst>
            <pc:docMk/>
            <pc:sldMk cId="3697549462" sldId="267"/>
            <ac:spMk id="10" creationId="{27449F10-8535-8B78-FCB9-B7B9410CCB69}"/>
          </ac:spMkLst>
        </pc:spChg>
        <pc:spChg chg="mod">
          <ac:chgData name="Ziegler, Moritz" userId="64963377-0688-41ce-81de-c3adb053cc9f" providerId="ADAL" clId="{06E8612E-1905-4FD3-903D-3F804CCFF889}" dt="2023-04-17T20:29:32.254" v="8680" actId="790"/>
          <ac:spMkLst>
            <pc:docMk/>
            <pc:sldMk cId="3697549462" sldId="267"/>
            <ac:spMk id="11" creationId="{13BAA1CB-AA8E-1764-C40A-24108920CCBC}"/>
          </ac:spMkLst>
        </pc:spChg>
        <pc:spChg chg="mod">
          <ac:chgData name="Ziegler, Moritz" userId="64963377-0688-41ce-81de-c3adb053cc9f" providerId="ADAL" clId="{06E8612E-1905-4FD3-903D-3F804CCFF889}" dt="2023-04-17T20:29:32.256" v="8681" actId="790"/>
          <ac:spMkLst>
            <pc:docMk/>
            <pc:sldMk cId="3697549462" sldId="267"/>
            <ac:spMk id="12" creationId="{73CF3FD3-8B52-0150-6B09-BD9E2C49EB9D}"/>
          </ac:spMkLst>
        </pc:spChg>
        <pc:spChg chg="mod">
          <ac:chgData name="Ziegler, Moritz" userId="64963377-0688-41ce-81de-c3adb053cc9f" providerId="ADAL" clId="{06E8612E-1905-4FD3-903D-3F804CCFF889}" dt="2023-04-17T20:29:32.258" v="8682" actId="790"/>
          <ac:spMkLst>
            <pc:docMk/>
            <pc:sldMk cId="3697549462" sldId="267"/>
            <ac:spMk id="13" creationId="{536911B5-FC31-5FA8-4F44-C75A77D8896D}"/>
          </ac:spMkLst>
        </pc:spChg>
        <pc:spChg chg="mod">
          <ac:chgData name="Ziegler, Moritz" userId="64963377-0688-41ce-81de-c3adb053cc9f" providerId="ADAL" clId="{06E8612E-1905-4FD3-903D-3F804CCFF889}" dt="2023-04-17T20:29:32.259" v="8683" actId="790"/>
          <ac:spMkLst>
            <pc:docMk/>
            <pc:sldMk cId="3697549462" sldId="267"/>
            <ac:spMk id="14" creationId="{F5098A9C-E8BE-440A-A5AB-1E24545DCACF}"/>
          </ac:spMkLst>
        </pc:spChg>
        <pc:spChg chg="mod">
          <ac:chgData name="Ziegler, Moritz" userId="64963377-0688-41ce-81de-c3adb053cc9f" providerId="ADAL" clId="{06E8612E-1905-4FD3-903D-3F804CCFF889}" dt="2023-04-17T20:29:32.260" v="8684" actId="790"/>
          <ac:spMkLst>
            <pc:docMk/>
            <pc:sldMk cId="3697549462" sldId="267"/>
            <ac:spMk id="15" creationId="{EDCEE4E8-3153-2FD8-9F5E-C956987A2188}"/>
          </ac:spMkLst>
        </pc:spChg>
        <pc:spChg chg="mod">
          <ac:chgData name="Ziegler, Moritz" userId="64963377-0688-41ce-81de-c3adb053cc9f" providerId="ADAL" clId="{06E8612E-1905-4FD3-903D-3F804CCFF889}" dt="2023-04-17T20:29:32.263" v="8685" actId="790"/>
          <ac:spMkLst>
            <pc:docMk/>
            <pc:sldMk cId="3697549462" sldId="267"/>
            <ac:spMk id="26" creationId="{10DB885F-DD61-5FF5-6895-A10E54B1D20F}"/>
          </ac:spMkLst>
        </pc:spChg>
        <pc:spChg chg="mod">
          <ac:chgData name="Ziegler, Moritz" userId="64963377-0688-41ce-81de-c3adb053cc9f" providerId="ADAL" clId="{06E8612E-1905-4FD3-903D-3F804CCFF889}" dt="2023-04-17T20:29:32.264" v="8686" actId="790"/>
          <ac:spMkLst>
            <pc:docMk/>
            <pc:sldMk cId="3697549462" sldId="267"/>
            <ac:spMk id="27" creationId="{630BBDCC-68B1-BD7F-AE9A-0DAE280CEB98}"/>
          </ac:spMkLst>
        </pc:spChg>
        <pc:spChg chg="mod">
          <ac:chgData name="Ziegler, Moritz" userId="64963377-0688-41ce-81de-c3adb053cc9f" providerId="ADAL" clId="{06E8612E-1905-4FD3-903D-3F804CCFF889}" dt="2023-04-17T20:29:32.268" v="8687" actId="790"/>
          <ac:spMkLst>
            <pc:docMk/>
            <pc:sldMk cId="3697549462" sldId="267"/>
            <ac:spMk id="28" creationId="{3F795D8C-2021-F810-68A3-F768DA009236}"/>
          </ac:spMkLst>
        </pc:spChg>
        <pc:spChg chg="mod">
          <ac:chgData name="Ziegler, Moritz" userId="64963377-0688-41ce-81de-c3adb053cc9f" providerId="ADAL" clId="{06E8612E-1905-4FD3-903D-3F804CCFF889}" dt="2023-04-17T20:29:32.270" v="8688" actId="790"/>
          <ac:spMkLst>
            <pc:docMk/>
            <pc:sldMk cId="3697549462" sldId="267"/>
            <ac:spMk id="29" creationId="{373F4662-C369-B61E-BFEF-FDA23AC20710}"/>
          </ac:spMkLst>
        </pc:spChg>
        <pc:spChg chg="mod">
          <ac:chgData name="Ziegler, Moritz" userId="64963377-0688-41ce-81de-c3adb053cc9f" providerId="ADAL" clId="{06E8612E-1905-4FD3-903D-3F804CCFF889}" dt="2023-04-17T20:29:32.271" v="8689" actId="790"/>
          <ac:spMkLst>
            <pc:docMk/>
            <pc:sldMk cId="3697549462" sldId="267"/>
            <ac:spMk id="30" creationId="{EB336227-C706-A413-78D8-A31A610D2FCE}"/>
          </ac:spMkLst>
        </pc:spChg>
        <pc:spChg chg="mod">
          <ac:chgData name="Ziegler, Moritz" userId="64963377-0688-41ce-81de-c3adb053cc9f" providerId="ADAL" clId="{06E8612E-1905-4FD3-903D-3F804CCFF889}" dt="2023-04-17T20:29:32.273" v="8690" actId="790"/>
          <ac:spMkLst>
            <pc:docMk/>
            <pc:sldMk cId="3697549462" sldId="267"/>
            <ac:spMk id="31" creationId="{954AD09B-0FE6-704A-B865-8A55C9F1B335}"/>
          </ac:spMkLst>
        </pc:spChg>
        <pc:spChg chg="mod">
          <ac:chgData name="Ziegler, Moritz" userId="64963377-0688-41ce-81de-c3adb053cc9f" providerId="ADAL" clId="{06E8612E-1905-4FD3-903D-3F804CCFF889}" dt="2023-04-17T20:29:32.275" v="8691" actId="790"/>
          <ac:spMkLst>
            <pc:docMk/>
            <pc:sldMk cId="3697549462" sldId="267"/>
            <ac:spMk id="32" creationId="{8770AC30-6470-6E8D-8FAC-FF9943E6A8C9}"/>
          </ac:spMkLst>
        </pc:spChg>
        <pc:spChg chg="mod">
          <ac:chgData name="Ziegler, Moritz" userId="64963377-0688-41ce-81de-c3adb053cc9f" providerId="ADAL" clId="{06E8612E-1905-4FD3-903D-3F804CCFF889}" dt="2023-04-17T20:29:32.276" v="8692" actId="790"/>
          <ac:spMkLst>
            <pc:docMk/>
            <pc:sldMk cId="3697549462" sldId="267"/>
            <ac:spMk id="33" creationId="{7E545CD7-93C6-A1FA-1937-71784920BA2D}"/>
          </ac:spMkLst>
        </pc:spChg>
        <pc:spChg chg="mod">
          <ac:chgData name="Ziegler, Moritz" userId="64963377-0688-41ce-81de-c3adb053cc9f" providerId="ADAL" clId="{06E8612E-1905-4FD3-903D-3F804CCFF889}" dt="2023-04-17T20:29:32.277" v="8693" actId="790"/>
          <ac:spMkLst>
            <pc:docMk/>
            <pc:sldMk cId="3697549462" sldId="267"/>
            <ac:spMk id="34" creationId="{FE12F2F7-8C4E-B32B-AA51-08FD036CA8F3}"/>
          </ac:spMkLst>
        </pc:spChg>
        <pc:spChg chg="mod">
          <ac:chgData name="Ziegler, Moritz" userId="64963377-0688-41ce-81de-c3adb053cc9f" providerId="ADAL" clId="{06E8612E-1905-4FD3-903D-3F804CCFF889}" dt="2023-04-17T20:29:32.278" v="8694" actId="790"/>
          <ac:spMkLst>
            <pc:docMk/>
            <pc:sldMk cId="3697549462" sldId="267"/>
            <ac:spMk id="35" creationId="{56FB0C21-23AA-091A-1E43-70F9A89A1A30}"/>
          </ac:spMkLst>
        </pc:spChg>
        <pc:spChg chg="mod">
          <ac:chgData name="Ziegler, Moritz" userId="64963377-0688-41ce-81de-c3adb053cc9f" providerId="ADAL" clId="{06E8612E-1905-4FD3-903D-3F804CCFF889}" dt="2023-04-17T20:29:32.279" v="8695" actId="790"/>
          <ac:spMkLst>
            <pc:docMk/>
            <pc:sldMk cId="3697549462" sldId="267"/>
            <ac:spMk id="38" creationId="{E541783B-D8EC-C9C8-9159-6D731615BCD8}"/>
          </ac:spMkLst>
        </pc:spChg>
        <pc:spChg chg="mod">
          <ac:chgData name="Ziegler, Moritz" userId="64963377-0688-41ce-81de-c3adb053cc9f" providerId="ADAL" clId="{06E8612E-1905-4FD3-903D-3F804CCFF889}" dt="2023-04-17T20:29:32.280" v="8696" actId="790"/>
          <ac:spMkLst>
            <pc:docMk/>
            <pc:sldMk cId="3697549462" sldId="267"/>
            <ac:spMk id="39" creationId="{397B4BD8-D9C1-8451-53F1-C3F4DECD6B46}"/>
          </ac:spMkLst>
        </pc:spChg>
        <pc:spChg chg="mod">
          <ac:chgData name="Ziegler, Moritz" userId="64963377-0688-41ce-81de-c3adb053cc9f" providerId="ADAL" clId="{06E8612E-1905-4FD3-903D-3F804CCFF889}" dt="2023-04-17T20:29:32.281" v="8697" actId="790"/>
          <ac:spMkLst>
            <pc:docMk/>
            <pc:sldMk cId="3697549462" sldId="267"/>
            <ac:spMk id="40" creationId="{067DE26C-DA8B-A2F8-1F71-28D80C4C8285}"/>
          </ac:spMkLst>
        </pc:spChg>
        <pc:spChg chg="mod">
          <ac:chgData name="Ziegler, Moritz" userId="64963377-0688-41ce-81de-c3adb053cc9f" providerId="ADAL" clId="{06E8612E-1905-4FD3-903D-3F804CCFF889}" dt="2023-04-17T20:29:32.282" v="8698" actId="790"/>
          <ac:spMkLst>
            <pc:docMk/>
            <pc:sldMk cId="3697549462" sldId="267"/>
            <ac:spMk id="41" creationId="{B988C8F1-6815-E8AB-B661-98B5C3B27CB9}"/>
          </ac:spMkLst>
        </pc:spChg>
        <pc:spChg chg="mod">
          <ac:chgData name="Ziegler, Moritz" userId="64963377-0688-41ce-81de-c3adb053cc9f" providerId="ADAL" clId="{06E8612E-1905-4FD3-903D-3F804CCFF889}" dt="2023-04-17T20:29:32.252" v="8677" actId="790"/>
          <ac:spMkLst>
            <pc:docMk/>
            <pc:sldMk cId="3697549462" sldId="267"/>
            <ac:spMk id="53" creationId="{8FCCFC4C-357B-B674-CD49-A1EBDA7192F3}"/>
          </ac:spMkLst>
        </pc:spChg>
        <pc:spChg chg="mod">
          <ac:chgData name="Ziegler, Moritz" userId="64963377-0688-41ce-81de-c3adb053cc9f" providerId="ADAL" clId="{06E8612E-1905-4FD3-903D-3F804CCFF889}" dt="2023-04-17T20:29:32.282" v="8699" actId="790"/>
          <ac:spMkLst>
            <pc:docMk/>
            <pc:sldMk cId="3697549462" sldId="267"/>
            <ac:spMk id="54" creationId="{058CD5BA-BE1D-9C7E-4563-3FCE5B21E4F8}"/>
          </ac:spMkLst>
        </pc:spChg>
      </pc:sldChg>
      <pc:sldChg chg="addSp modSp new add mod modTransition modShow modNotes">
        <pc:chgData name="Ziegler, Moritz" userId="64963377-0688-41ce-81de-c3adb053cc9f" providerId="ADAL" clId="{06E8612E-1905-4FD3-903D-3F804CCFF889}" dt="2023-04-17T20:29:32.251" v="8675" actId="790"/>
        <pc:sldMkLst>
          <pc:docMk/>
          <pc:sldMk cId="3087395936" sldId="268"/>
        </pc:sldMkLst>
        <pc:spChg chg="mod">
          <ac:chgData name="Ziegler, Moritz" userId="64963377-0688-41ce-81de-c3adb053cc9f" providerId="ADAL" clId="{06E8612E-1905-4FD3-903D-3F804CCFF889}" dt="2023-04-17T20:29:32.246" v="8669" actId="790"/>
          <ac:spMkLst>
            <pc:docMk/>
            <pc:sldMk cId="3087395936" sldId="268"/>
            <ac:spMk id="2" creationId="{E1974ADD-277E-69CF-DD25-572205C24CB4}"/>
          </ac:spMkLst>
        </pc:spChg>
        <pc:spChg chg="mod">
          <ac:chgData name="Ziegler, Moritz" userId="64963377-0688-41ce-81de-c3adb053cc9f" providerId="ADAL" clId="{06E8612E-1905-4FD3-903D-3F804CCFF889}" dt="2023-04-17T20:29:32.247" v="8670" actId="790"/>
          <ac:spMkLst>
            <pc:docMk/>
            <pc:sldMk cId="3087395936" sldId="268"/>
            <ac:spMk id="3" creationId="{2767109C-1241-D4D1-ACC2-1DF0FE46B83B}"/>
          </ac:spMkLst>
        </pc:spChg>
        <pc:spChg chg="mod">
          <ac:chgData name="Ziegler, Moritz" userId="64963377-0688-41ce-81de-c3adb053cc9f" providerId="ADAL" clId="{06E8612E-1905-4FD3-903D-3F804CCFF889}" dt="2023-04-17T20:29:32.248" v="8671" actId="790"/>
          <ac:spMkLst>
            <pc:docMk/>
            <pc:sldMk cId="3087395936" sldId="268"/>
            <ac:spMk id="4" creationId="{8B7B2ACF-2DE8-4438-1A38-F76912FC3ACD}"/>
          </ac:spMkLst>
        </pc:spChg>
        <pc:graphicFrameChg chg="add mod ord modVis replST">
          <ac:chgData name="Ziegler, Moritz" userId="64963377-0688-41ce-81de-c3adb053cc9f" providerId="ADAL" clId="{06E8612E-1905-4FD3-903D-3F804CCFF889}" dt="2023-04-12T11:28:54.192" v="412"/>
          <ac:graphicFrameMkLst>
            <pc:docMk/>
            <pc:sldMk cId="3087395936" sldId="268"/>
            <ac:graphicFrameMk id="5" creationId="{429BAE5D-7437-891D-4532-1534331C422F}"/>
          </ac:graphicFrameMkLst>
        </pc:graphicFrameChg>
      </pc:sldChg>
      <pc:sldChg chg="addSp delSp modSp new add del mod ord modClrScheme chgLayout modNotes">
        <pc:chgData name="Ziegler, Moritz" userId="64963377-0688-41ce-81de-c3adb053cc9f" providerId="ADAL" clId="{06E8612E-1905-4FD3-903D-3F804CCFF889}" dt="2023-04-17T21:26:57.042" v="12744" actId="47"/>
        <pc:sldMkLst>
          <pc:docMk/>
          <pc:sldMk cId="4163008316" sldId="269"/>
        </pc:sldMkLst>
        <pc:spChg chg="del">
          <ac:chgData name="Ziegler, Moritz" userId="64963377-0688-41ce-81de-c3adb053cc9f" providerId="ADAL" clId="{06E8612E-1905-4FD3-903D-3F804CCFF889}" dt="2023-04-12T11:30:32.144" v="418"/>
          <ac:spMkLst>
            <pc:docMk/>
            <pc:sldMk cId="4163008316" sldId="269"/>
            <ac:spMk id="2" creationId="{628DCC92-2548-D316-823C-EB78B697AE34}"/>
          </ac:spMkLst>
        </pc:spChg>
        <pc:spChg chg="del mod ord">
          <ac:chgData name="Ziegler, Moritz" userId="64963377-0688-41ce-81de-c3adb053cc9f" providerId="ADAL" clId="{06E8612E-1905-4FD3-903D-3F804CCFF889}" dt="2023-04-12T11:30:32.144" v="418"/>
          <ac:spMkLst>
            <pc:docMk/>
            <pc:sldMk cId="4163008316" sldId="269"/>
            <ac:spMk id="3" creationId="{D371E5F4-4200-FCDE-2120-A74A355A21EA}"/>
          </ac:spMkLst>
        </pc:spChg>
        <pc:spChg chg="del mod ord">
          <ac:chgData name="Ziegler, Moritz" userId="64963377-0688-41ce-81de-c3adb053cc9f" providerId="ADAL" clId="{06E8612E-1905-4FD3-903D-3F804CCFF889}" dt="2023-04-12T11:30:32.144" v="418"/>
          <ac:spMkLst>
            <pc:docMk/>
            <pc:sldMk cId="4163008316" sldId="269"/>
            <ac:spMk id="4" creationId="{C4E7D275-014B-8869-4170-6D0AFACFB518}"/>
          </ac:spMkLst>
        </pc:spChg>
        <pc:spChg chg="add mod ord">
          <ac:chgData name="Ziegler, Moritz" userId="64963377-0688-41ce-81de-c3adb053cc9f" providerId="ADAL" clId="{06E8612E-1905-4FD3-903D-3F804CCFF889}" dt="2023-04-17T20:29:32.171" v="8584" actId="790"/>
          <ac:spMkLst>
            <pc:docMk/>
            <pc:sldMk cId="4163008316" sldId="269"/>
            <ac:spMk id="5" creationId="{BE69B541-0C44-1FA8-BCBE-18CA8F34C031}"/>
          </ac:spMkLst>
        </pc:spChg>
        <pc:spChg chg="add mod ord">
          <ac:chgData name="Ziegler, Moritz" userId="64963377-0688-41ce-81de-c3adb053cc9f" providerId="ADAL" clId="{06E8612E-1905-4FD3-903D-3F804CCFF889}" dt="2023-04-17T20:29:32.172" v="8585" actId="790"/>
          <ac:spMkLst>
            <pc:docMk/>
            <pc:sldMk cId="4163008316" sldId="269"/>
            <ac:spMk id="6" creationId="{7F2586C5-63B0-2C6D-3CB5-B23F54523A4A}"/>
          </ac:spMkLst>
        </pc:spChg>
        <pc:spChg chg="add del mod modVis">
          <ac:chgData name="Ziegler, Moritz" userId="64963377-0688-41ce-81de-c3adb053cc9f" providerId="ADAL" clId="{06E8612E-1905-4FD3-903D-3F804CCFF889}" dt="2023-04-12T11:30:38.957" v="496"/>
          <ac:spMkLst>
            <pc:docMk/>
            <pc:sldMk cId="4163008316" sldId="269"/>
            <ac:spMk id="8" creationId="{06B761AD-0F6F-D85B-F49D-10CE8CF4AF56}"/>
          </ac:spMkLst>
        </pc:spChg>
        <pc:spChg chg="add del mod modVis">
          <ac:chgData name="Ziegler, Moritz" userId="64963377-0688-41ce-81de-c3adb053cc9f" providerId="ADAL" clId="{06E8612E-1905-4FD3-903D-3F804CCFF889}" dt="2023-04-12T11:30:40.827" v="553"/>
          <ac:spMkLst>
            <pc:docMk/>
            <pc:sldMk cId="4163008316" sldId="269"/>
            <ac:spMk id="9" creationId="{571E858C-FC2D-F0DE-D228-1406523973E6}"/>
          </ac:spMkLst>
        </pc:spChg>
        <pc:spChg chg="add del mod modVis">
          <ac:chgData name="Ziegler, Moritz" userId="64963377-0688-41ce-81de-c3adb053cc9f" providerId="ADAL" clId="{06E8612E-1905-4FD3-903D-3F804CCFF889}" dt="2023-04-12T11:30:48.797" v="599"/>
          <ac:spMkLst>
            <pc:docMk/>
            <pc:sldMk cId="4163008316" sldId="269"/>
            <ac:spMk id="10" creationId="{6A15E914-270D-09CB-C16D-ED3B165612BE}"/>
          </ac:spMkLst>
        </pc:spChg>
        <pc:spChg chg="add del mod modVis">
          <ac:chgData name="Ziegler, Moritz" userId="64963377-0688-41ce-81de-c3adb053cc9f" providerId="ADAL" clId="{06E8612E-1905-4FD3-903D-3F804CCFF889}" dt="2023-04-12T11:30:50.034" v="651"/>
          <ac:spMkLst>
            <pc:docMk/>
            <pc:sldMk cId="4163008316" sldId="269"/>
            <ac:spMk id="11" creationId="{489F94C5-CB61-77C8-1CEF-1D0A65A64064}"/>
          </ac:spMkLst>
        </pc:spChg>
        <pc:spChg chg="add mod">
          <ac:chgData name="Ziegler, Moritz" userId="64963377-0688-41ce-81de-c3adb053cc9f" providerId="ADAL" clId="{06E8612E-1905-4FD3-903D-3F804CCFF889}" dt="2023-04-17T20:29:32.174" v="8586" actId="790"/>
          <ac:spMkLst>
            <pc:docMk/>
            <pc:sldMk cId="4163008316" sldId="269"/>
            <ac:spMk id="12" creationId="{00A3E5D3-5EFB-6A3B-1C4E-A491A1A59357}"/>
          </ac:spMkLst>
        </pc:spChg>
        <pc:graphicFrameChg chg="add mod ord modVis replST">
          <ac:chgData name="Ziegler, Moritz" userId="64963377-0688-41ce-81de-c3adb053cc9f" providerId="ADAL" clId="{06E8612E-1905-4FD3-903D-3F804CCFF889}" dt="2023-04-12T11:30:50.038" v="653"/>
          <ac:graphicFrameMkLst>
            <pc:docMk/>
            <pc:sldMk cId="4163008316" sldId="269"/>
            <ac:graphicFrameMk id="7" creationId="{9B982325-51BE-E493-3F72-29B4960F1E6F}"/>
          </ac:graphicFrameMkLst>
        </pc:graphicFrameChg>
      </pc:sldChg>
      <pc:sldChg chg="addSp delSp modSp new add del mod">
        <pc:chgData name="Ziegler, Moritz" userId="64963377-0688-41ce-81de-c3adb053cc9f" providerId="ADAL" clId="{06E8612E-1905-4FD3-903D-3F804CCFF889}" dt="2023-04-14T07:09:26.692" v="1379" actId="47"/>
        <pc:sldMkLst>
          <pc:docMk/>
          <pc:sldMk cId="1859544376" sldId="270"/>
        </pc:sldMkLst>
        <pc:spChg chg="mod">
          <ac:chgData name="Ziegler, Moritz" userId="64963377-0688-41ce-81de-c3adb053cc9f" providerId="ADAL" clId="{06E8612E-1905-4FD3-903D-3F804CCFF889}" dt="2023-04-12T11:34:34.866" v="1267" actId="948"/>
          <ac:spMkLst>
            <pc:docMk/>
            <pc:sldMk cId="1859544376" sldId="270"/>
            <ac:spMk id="2" creationId="{B19DC4B5-89B9-8887-61C7-C36E498DF14E}"/>
          </ac:spMkLst>
        </pc:spChg>
        <pc:spChg chg="add del mod modVis">
          <ac:chgData name="Ziegler, Moritz" userId="64963377-0688-41ce-81de-c3adb053cc9f" providerId="ADAL" clId="{06E8612E-1905-4FD3-903D-3F804CCFF889}" dt="2023-04-12T11:34:26.466" v="1067"/>
          <ac:spMkLst>
            <pc:docMk/>
            <pc:sldMk cId="1859544376" sldId="270"/>
            <ac:spMk id="4" creationId="{A30C9901-D403-0FA6-8861-B71719BCCD84}"/>
          </ac:spMkLst>
        </pc:spChg>
        <pc:spChg chg="add del mod modVis">
          <ac:chgData name="Ziegler, Moritz" userId="64963377-0688-41ce-81de-c3adb053cc9f" providerId="ADAL" clId="{06E8612E-1905-4FD3-903D-3F804CCFF889}" dt="2023-04-12T11:34:27.566" v="1129"/>
          <ac:spMkLst>
            <pc:docMk/>
            <pc:sldMk cId="1859544376" sldId="270"/>
            <ac:spMk id="6" creationId="{DE459383-4C08-2949-4F5F-0CF58928F0B3}"/>
          </ac:spMkLst>
        </pc:spChg>
        <pc:spChg chg="add del mod modVis">
          <ac:chgData name="Ziegler, Moritz" userId="64963377-0688-41ce-81de-c3adb053cc9f" providerId="ADAL" clId="{06E8612E-1905-4FD3-903D-3F804CCFF889}" dt="2023-04-12T11:34:31.146" v="1194"/>
          <ac:spMkLst>
            <pc:docMk/>
            <pc:sldMk cId="1859544376" sldId="270"/>
            <ac:spMk id="7" creationId="{DD4C8EE4-FE99-E77C-5037-B5DB48EE4961}"/>
          </ac:spMkLst>
        </pc:spChg>
        <pc:spChg chg="add del mod modVis">
          <ac:chgData name="Ziegler, Moritz" userId="64963377-0688-41ce-81de-c3adb053cc9f" providerId="ADAL" clId="{06E8612E-1905-4FD3-903D-3F804CCFF889}" dt="2023-04-12T11:34:32.086" v="1243"/>
          <ac:spMkLst>
            <pc:docMk/>
            <pc:sldMk cId="1859544376" sldId="270"/>
            <ac:spMk id="8" creationId="{6F6156F9-03AE-419D-BB7F-B98F9F28BAA6}"/>
          </ac:spMkLst>
        </pc:spChg>
        <pc:spChg chg="add del mod modVis">
          <ac:chgData name="Ziegler, Moritz" userId="64963377-0688-41ce-81de-c3adb053cc9f" providerId="ADAL" clId="{06E8612E-1905-4FD3-903D-3F804CCFF889}" dt="2023-04-12T11:34:34.906" v="1308"/>
          <ac:spMkLst>
            <pc:docMk/>
            <pc:sldMk cId="1859544376" sldId="270"/>
            <ac:spMk id="9" creationId="{C2544661-02C1-63BF-103A-3DBC03103AF2}"/>
          </ac:spMkLst>
        </pc:spChg>
        <pc:graphicFrameChg chg="add mod ord modVis replST">
          <ac:chgData name="Ziegler, Moritz" userId="64963377-0688-41ce-81de-c3adb053cc9f" providerId="ADAL" clId="{06E8612E-1905-4FD3-903D-3F804CCFF889}" dt="2023-04-12T11:34:34.909" v="1310"/>
          <ac:graphicFrameMkLst>
            <pc:docMk/>
            <pc:sldMk cId="1859544376" sldId="270"/>
            <ac:graphicFrameMk id="5" creationId="{C3A69A5F-D127-8ED1-BF34-6BA138C385D8}"/>
          </ac:graphicFrameMkLst>
        </pc:graphicFrameChg>
      </pc:sldChg>
      <pc:sldChg chg="modSp new add del mod modNotes">
        <pc:chgData name="Ziegler, Moritz" userId="64963377-0688-41ce-81de-c3adb053cc9f" providerId="ADAL" clId="{06E8612E-1905-4FD3-903D-3F804CCFF889}" dt="2023-04-18T10:52:37.777" v="12754"/>
        <pc:sldMkLst>
          <pc:docMk/>
          <pc:sldMk cId="4042583338" sldId="271"/>
        </pc:sldMkLst>
        <pc:spChg chg="mod">
          <ac:chgData name="Ziegler, Moritz" userId="64963377-0688-41ce-81de-c3adb053cc9f" providerId="ADAL" clId="{06E8612E-1905-4FD3-903D-3F804CCFF889}" dt="2023-04-17T20:29:32.237" v="8659" actId="790"/>
          <ac:spMkLst>
            <pc:docMk/>
            <pc:sldMk cId="4042583338" sldId="271"/>
            <ac:spMk id="2" creationId="{D4AAEDA6-86D0-85FF-FE81-9BA474A70451}"/>
          </ac:spMkLst>
        </pc:spChg>
        <pc:spChg chg="mod">
          <ac:chgData name="Ziegler, Moritz" userId="64963377-0688-41ce-81de-c3adb053cc9f" providerId="ADAL" clId="{06E8612E-1905-4FD3-903D-3F804CCFF889}" dt="2023-04-17T20:29:32.238" v="8660" actId="790"/>
          <ac:spMkLst>
            <pc:docMk/>
            <pc:sldMk cId="4042583338" sldId="271"/>
            <ac:spMk id="3" creationId="{74F942CC-5D64-7D36-18BD-0B63E4C4C9CB}"/>
          </ac:spMkLst>
        </pc:spChg>
        <pc:spChg chg="mod">
          <ac:chgData name="Ziegler, Moritz" userId="64963377-0688-41ce-81de-c3adb053cc9f" providerId="ADAL" clId="{06E8612E-1905-4FD3-903D-3F804CCFF889}" dt="2023-04-17T20:29:32.239" v="8661" actId="790"/>
          <ac:spMkLst>
            <pc:docMk/>
            <pc:sldMk cId="4042583338" sldId="271"/>
            <ac:spMk id="4" creationId="{DAE5F76C-C89A-8DC3-5415-A8D8842DF552}"/>
          </ac:spMkLst>
        </pc:spChg>
      </pc:sldChg>
      <pc:sldChg chg="addSp delSp modSp add del mod">
        <pc:chgData name="Ziegler, Moritz" userId="64963377-0688-41ce-81de-c3adb053cc9f" providerId="ADAL" clId="{06E8612E-1905-4FD3-903D-3F804CCFF889}" dt="2023-04-17T20:25:41.541" v="2931" actId="47"/>
        <pc:sldMkLst>
          <pc:docMk/>
          <pc:sldMk cId="1951518958" sldId="2147470691"/>
        </pc:sldMkLst>
        <pc:spChg chg="add del mod">
          <ac:chgData name="Ziegler, Moritz" userId="64963377-0688-41ce-81de-c3adb053cc9f" providerId="ADAL" clId="{06E8612E-1905-4FD3-903D-3F804CCFF889}" dt="2023-04-17T20:23:36.242" v="1827" actId="478"/>
          <ac:spMkLst>
            <pc:docMk/>
            <pc:sldMk cId="1951518958" sldId="2147470691"/>
            <ac:spMk id="8" creationId="{B2655DFD-A484-EC27-FC20-AC714EFCA490}"/>
          </ac:spMkLst>
        </pc:spChg>
        <pc:spChg chg="del mod">
          <ac:chgData name="Ziegler, Moritz" userId="64963377-0688-41ce-81de-c3adb053cc9f" providerId="ADAL" clId="{06E8612E-1905-4FD3-903D-3F804CCFF889}" dt="2023-04-17T20:24:07.333" v="1831" actId="478"/>
          <ac:spMkLst>
            <pc:docMk/>
            <pc:sldMk cId="1951518958" sldId="2147470691"/>
            <ac:spMk id="93" creationId="{F95463BB-1F13-437C-B2FC-54BE57E1F28F}"/>
          </ac:spMkLst>
        </pc:spChg>
        <pc:spChg chg="del">
          <ac:chgData name="Ziegler, Moritz" userId="64963377-0688-41ce-81de-c3adb053cc9f" providerId="ADAL" clId="{06E8612E-1905-4FD3-903D-3F804CCFF889}" dt="2023-04-17T20:24:02.299" v="1828" actId="478"/>
          <ac:spMkLst>
            <pc:docMk/>
            <pc:sldMk cId="1951518958" sldId="2147470691"/>
            <ac:spMk id="147" creationId="{FC1F0A1E-8CB1-4CF1-88C6-0FF5D7221010}"/>
          </ac:spMkLst>
        </pc:spChg>
        <pc:grpChg chg="del">
          <ac:chgData name="Ziegler, Moritz" userId="64963377-0688-41ce-81de-c3adb053cc9f" providerId="ADAL" clId="{06E8612E-1905-4FD3-903D-3F804CCFF889}" dt="2023-04-17T20:24:03.579" v="1829" actId="478"/>
          <ac:grpSpMkLst>
            <pc:docMk/>
            <pc:sldMk cId="1951518958" sldId="2147470691"/>
            <ac:grpSpMk id="148" creationId="{1DF0D25A-DF06-4B38-8EFD-DDE77375BE7B}"/>
          </ac:grpSpMkLst>
        </pc:grpChg>
      </pc:sldChg>
      <pc:sldChg chg="addSp delSp modSp new add mod modNotes">
        <pc:chgData name="Ziegler, Moritz" userId="64963377-0688-41ce-81de-c3adb053cc9f" providerId="ADAL" clId="{06E8612E-1905-4FD3-903D-3F804CCFF889}" dt="2023-04-17T20:29:33.833" v="10051"/>
        <pc:sldMkLst>
          <pc:docMk/>
          <pc:sldMk cId="206869734" sldId="2147470692"/>
        </pc:sldMkLst>
        <pc:spChg chg="mod ord">
          <ac:chgData name="Ziegler, Moritz" userId="64963377-0688-41ce-81de-c3adb053cc9f" providerId="ADAL" clId="{06E8612E-1905-4FD3-903D-3F804CCFF889}" dt="2023-04-17T20:29:33.787" v="10003"/>
          <ac:spMkLst>
            <pc:docMk/>
            <pc:sldMk cId="206869734" sldId="2147470692"/>
            <ac:spMk id="2" creationId="{7F480F77-3323-7F9A-B16C-71D4B0E51EB1}"/>
          </ac:spMkLst>
        </pc:spChg>
        <pc:spChg chg="mod ord">
          <ac:chgData name="Ziegler, Moritz" userId="64963377-0688-41ce-81de-c3adb053cc9f" providerId="ADAL" clId="{06E8612E-1905-4FD3-903D-3F804CCFF889}" dt="2023-04-17T20:29:33.787" v="10005"/>
          <ac:spMkLst>
            <pc:docMk/>
            <pc:sldMk cId="206869734" sldId="2147470692"/>
            <ac:spMk id="3" creationId="{340C2A58-B269-44B6-3209-073FF82668AA}"/>
          </ac:spMkLst>
        </pc:spChg>
        <pc:spChg chg="add del mod modVis">
          <ac:chgData name="Ziegler, Moritz" userId="64963377-0688-41ce-81de-c3adb053cc9f" providerId="ADAL" clId="{06E8612E-1905-4FD3-903D-3F804CCFF889}" dt="2023-04-17T20:24:28.875" v="1896"/>
          <ac:spMkLst>
            <pc:docMk/>
            <pc:sldMk cId="206869734" sldId="2147470692"/>
            <ac:spMk id="4" creationId="{E19F87BD-3590-11F6-7675-F4EC575655C1}"/>
          </ac:spMkLst>
        </pc:spChg>
        <pc:spChg chg="add del mod replST">
          <ac:chgData name="Ziegler, Moritz" userId="64963377-0688-41ce-81de-c3adb053cc9f" providerId="ADAL" clId="{06E8612E-1905-4FD3-903D-3F804CCFF889}" dt="2023-04-17T20:25:47.910" v="3080"/>
          <ac:spMkLst>
            <pc:docMk/>
            <pc:sldMk cId="206869734" sldId="2147470692"/>
            <ac:spMk id="7" creationId="{0E6E97E9-BE01-BB09-2708-BC45DDB5B7A3}"/>
          </ac:spMkLst>
        </pc:spChg>
        <pc:spChg chg="add del mod replST">
          <ac:chgData name="Ziegler, Moritz" userId="64963377-0688-41ce-81de-c3adb053cc9f" providerId="ADAL" clId="{06E8612E-1905-4FD3-903D-3F804CCFF889}" dt="2023-04-17T20:25:47.907" v="3072"/>
          <ac:spMkLst>
            <pc:docMk/>
            <pc:sldMk cId="206869734" sldId="2147470692"/>
            <ac:spMk id="8" creationId="{BB80CB04-6A71-DE93-8678-BBFAD5588250}"/>
          </ac:spMkLst>
        </pc:spChg>
        <pc:spChg chg="add del mod replST">
          <ac:chgData name="Ziegler, Moritz" userId="64963377-0688-41ce-81de-c3adb053cc9f" providerId="ADAL" clId="{06E8612E-1905-4FD3-903D-3F804CCFF889}" dt="2023-04-17T20:25:47.907" v="3073"/>
          <ac:spMkLst>
            <pc:docMk/>
            <pc:sldMk cId="206869734" sldId="2147470692"/>
            <ac:spMk id="9" creationId="{9F52A05E-7201-7EF0-B52D-3640BFFCFFC5}"/>
          </ac:spMkLst>
        </pc:spChg>
        <pc:spChg chg="add del mod replST">
          <ac:chgData name="Ziegler, Moritz" userId="64963377-0688-41ce-81de-c3adb053cc9f" providerId="ADAL" clId="{06E8612E-1905-4FD3-903D-3F804CCFF889}" dt="2023-04-17T20:25:47.909" v="3077"/>
          <ac:spMkLst>
            <pc:docMk/>
            <pc:sldMk cId="206869734" sldId="2147470692"/>
            <ac:spMk id="10" creationId="{A33AB188-BCC1-B43A-759A-1754B6009B74}"/>
          </ac:spMkLst>
        </pc:spChg>
        <pc:spChg chg="add del mod replST">
          <ac:chgData name="Ziegler, Moritz" userId="64963377-0688-41ce-81de-c3adb053cc9f" providerId="ADAL" clId="{06E8612E-1905-4FD3-903D-3F804CCFF889}" dt="2023-04-17T20:25:47.904" v="3068"/>
          <ac:spMkLst>
            <pc:docMk/>
            <pc:sldMk cId="206869734" sldId="2147470692"/>
            <ac:spMk id="11" creationId="{CE11A1D6-4D9F-0FA9-B630-63B9C3A0D9D9}"/>
          </ac:spMkLst>
        </pc:spChg>
        <pc:spChg chg="add del mod replST">
          <ac:chgData name="Ziegler, Moritz" userId="64963377-0688-41ce-81de-c3adb053cc9f" providerId="ADAL" clId="{06E8612E-1905-4FD3-903D-3F804CCFF889}" dt="2023-04-17T20:25:47.909" v="3078"/>
          <ac:spMkLst>
            <pc:docMk/>
            <pc:sldMk cId="206869734" sldId="2147470692"/>
            <ac:spMk id="12" creationId="{F69727D1-BCFB-245A-647C-194DDEDDDE30}"/>
          </ac:spMkLst>
        </pc:spChg>
        <pc:spChg chg="add del mod replST">
          <ac:chgData name="Ziegler, Moritz" userId="64963377-0688-41ce-81de-c3adb053cc9f" providerId="ADAL" clId="{06E8612E-1905-4FD3-903D-3F804CCFF889}" dt="2023-04-17T20:25:47.905" v="3069"/>
          <ac:spMkLst>
            <pc:docMk/>
            <pc:sldMk cId="206869734" sldId="2147470692"/>
            <ac:spMk id="13" creationId="{BA271748-E52D-602C-964C-5B050D994F1A}"/>
          </ac:spMkLst>
        </pc:spChg>
        <pc:spChg chg="add del mod replST">
          <ac:chgData name="Ziegler, Moritz" userId="64963377-0688-41ce-81de-c3adb053cc9f" providerId="ADAL" clId="{06E8612E-1905-4FD3-903D-3F804CCFF889}" dt="2023-04-17T20:25:47.908" v="3075"/>
          <ac:spMkLst>
            <pc:docMk/>
            <pc:sldMk cId="206869734" sldId="2147470692"/>
            <ac:spMk id="14" creationId="{926D383C-CFCC-BF79-85C6-72B5131D9427}"/>
          </ac:spMkLst>
        </pc:spChg>
        <pc:spChg chg="add del mod replST">
          <ac:chgData name="Ziegler, Moritz" userId="64963377-0688-41ce-81de-c3adb053cc9f" providerId="ADAL" clId="{06E8612E-1905-4FD3-903D-3F804CCFF889}" dt="2023-04-17T20:25:47.910" v="3079"/>
          <ac:spMkLst>
            <pc:docMk/>
            <pc:sldMk cId="206869734" sldId="2147470692"/>
            <ac:spMk id="15" creationId="{4B921124-9D91-D52E-9536-917D01EE3F7F}"/>
          </ac:spMkLst>
        </pc:spChg>
        <pc:spChg chg="add del mod replST">
          <ac:chgData name="Ziegler, Moritz" userId="64963377-0688-41ce-81de-c3adb053cc9f" providerId="ADAL" clId="{06E8612E-1905-4FD3-903D-3F804CCFF889}" dt="2023-04-17T20:25:47.906" v="3071"/>
          <ac:spMkLst>
            <pc:docMk/>
            <pc:sldMk cId="206869734" sldId="2147470692"/>
            <ac:spMk id="16" creationId="{1ADC8B01-7F9B-D4EC-FD6E-B18034305F49}"/>
          </ac:spMkLst>
        </pc:spChg>
        <pc:spChg chg="add del mod replST">
          <ac:chgData name="Ziegler, Moritz" userId="64963377-0688-41ce-81de-c3adb053cc9f" providerId="ADAL" clId="{06E8612E-1905-4FD3-903D-3F804CCFF889}" dt="2023-04-17T20:25:47.906" v="3070"/>
          <ac:spMkLst>
            <pc:docMk/>
            <pc:sldMk cId="206869734" sldId="2147470692"/>
            <ac:spMk id="17" creationId="{5573C8D9-A560-9D70-0877-7DFBDCBFB13B}"/>
          </ac:spMkLst>
        </pc:spChg>
        <pc:spChg chg="add del mod replST">
          <ac:chgData name="Ziegler, Moritz" userId="64963377-0688-41ce-81de-c3adb053cc9f" providerId="ADAL" clId="{06E8612E-1905-4FD3-903D-3F804CCFF889}" dt="2023-04-17T20:25:47.909" v="3076"/>
          <ac:spMkLst>
            <pc:docMk/>
            <pc:sldMk cId="206869734" sldId="2147470692"/>
            <ac:spMk id="18" creationId="{B358016B-9CD9-3A9E-CB7F-7EA63434E081}"/>
          </ac:spMkLst>
        </pc:spChg>
        <pc:spChg chg="add del mod replST">
          <ac:chgData name="Ziegler, Moritz" userId="64963377-0688-41ce-81de-c3adb053cc9f" providerId="ADAL" clId="{06E8612E-1905-4FD3-903D-3F804CCFF889}" dt="2023-04-17T20:25:47.908" v="3074"/>
          <ac:spMkLst>
            <pc:docMk/>
            <pc:sldMk cId="206869734" sldId="2147470692"/>
            <ac:spMk id="19" creationId="{3FCEC3B7-A940-A07D-5EBF-EAEDAAD2FBA5}"/>
          </ac:spMkLst>
        </pc:spChg>
        <pc:spChg chg="add mod replST">
          <ac:chgData name="Ziegler, Moritz" userId="64963377-0688-41ce-81de-c3adb053cc9f" providerId="ADAL" clId="{06E8612E-1905-4FD3-903D-3F804CCFF889}" dt="2023-04-17T20:29:33.791" v="10021"/>
          <ac:spMkLst>
            <pc:docMk/>
            <pc:sldMk cId="206869734" sldId="2147470692"/>
            <ac:spMk id="26" creationId="{2153FDD3-1BAD-528D-E1B1-8AC89B721CDF}"/>
          </ac:spMkLst>
        </pc:spChg>
        <pc:spChg chg="add mod replST">
          <ac:chgData name="Ziegler, Moritz" userId="64963377-0688-41ce-81de-c3adb053cc9f" providerId="ADAL" clId="{06E8612E-1905-4FD3-903D-3F804CCFF889}" dt="2023-04-17T20:29:33.792" v="10023"/>
          <ac:spMkLst>
            <pc:docMk/>
            <pc:sldMk cId="206869734" sldId="2147470692"/>
            <ac:spMk id="27" creationId="{AA9FE2C2-72DA-4007-E0CF-FDC8FF7EDB5B}"/>
          </ac:spMkLst>
        </pc:spChg>
        <pc:spChg chg="add mod replST">
          <ac:chgData name="Ziegler, Moritz" userId="64963377-0688-41ce-81de-c3adb053cc9f" providerId="ADAL" clId="{06E8612E-1905-4FD3-903D-3F804CCFF889}" dt="2023-04-17T20:29:33.791" v="10020"/>
          <ac:spMkLst>
            <pc:docMk/>
            <pc:sldMk cId="206869734" sldId="2147470692"/>
            <ac:spMk id="28" creationId="{23C1E585-9493-3132-27C3-4B30ECC757FD}"/>
          </ac:spMkLst>
        </pc:spChg>
        <pc:spChg chg="add mod replST">
          <ac:chgData name="Ziegler, Moritz" userId="64963377-0688-41ce-81de-c3adb053cc9f" providerId="ADAL" clId="{06E8612E-1905-4FD3-903D-3F804CCFF889}" dt="2023-04-17T20:29:33.792" v="10022"/>
          <ac:spMkLst>
            <pc:docMk/>
            <pc:sldMk cId="206869734" sldId="2147470692"/>
            <ac:spMk id="29" creationId="{DE1E29F2-1248-D4C0-4DB9-79A3150B7A1F}"/>
          </ac:spMkLst>
        </pc:spChg>
        <pc:spChg chg="add mod replST">
          <ac:chgData name="Ziegler, Moritz" userId="64963377-0688-41ce-81de-c3adb053cc9f" providerId="ADAL" clId="{06E8612E-1905-4FD3-903D-3F804CCFF889}" dt="2023-04-17T20:29:33.792" v="10024"/>
          <ac:spMkLst>
            <pc:docMk/>
            <pc:sldMk cId="206869734" sldId="2147470692"/>
            <ac:spMk id="30" creationId="{7F4ED782-F073-86DE-6C02-A7667CA7B4B5}"/>
          </ac:spMkLst>
        </pc:spChg>
        <pc:spChg chg="add mod replST">
          <ac:chgData name="Ziegler, Moritz" userId="64963377-0688-41ce-81de-c3adb053cc9f" providerId="ADAL" clId="{06E8612E-1905-4FD3-903D-3F804CCFF889}" dt="2023-04-17T20:29:33.791" v="10018"/>
          <ac:spMkLst>
            <pc:docMk/>
            <pc:sldMk cId="206869734" sldId="2147470692"/>
            <ac:spMk id="31" creationId="{8AFBB0D9-CB6C-2A64-7D0F-DFD7C2784D63}"/>
          </ac:spMkLst>
        </pc:spChg>
        <pc:spChg chg="add mod replST">
          <ac:chgData name="Ziegler, Moritz" userId="64963377-0688-41ce-81de-c3adb053cc9f" providerId="ADAL" clId="{06E8612E-1905-4FD3-903D-3F804CCFF889}" dt="2023-04-17T20:29:33.793" v="10026"/>
          <ac:spMkLst>
            <pc:docMk/>
            <pc:sldMk cId="206869734" sldId="2147470692"/>
            <ac:spMk id="32" creationId="{57D4747F-800B-9BD8-5AD4-3C1CA56FC969}"/>
          </ac:spMkLst>
        </pc:spChg>
        <pc:spChg chg="add mod replST">
          <ac:chgData name="Ziegler, Moritz" userId="64963377-0688-41ce-81de-c3adb053cc9f" providerId="ADAL" clId="{06E8612E-1905-4FD3-903D-3F804CCFF889}" dt="2023-04-17T20:29:33.793" v="10027"/>
          <ac:spMkLst>
            <pc:docMk/>
            <pc:sldMk cId="206869734" sldId="2147470692"/>
            <ac:spMk id="33" creationId="{A6EC2A08-0973-AA6F-ECC7-F3DD9BF899A7}"/>
          </ac:spMkLst>
        </pc:spChg>
        <pc:spChg chg="add mod replST">
          <ac:chgData name="Ziegler, Moritz" userId="64963377-0688-41ce-81de-c3adb053cc9f" providerId="ADAL" clId="{06E8612E-1905-4FD3-903D-3F804CCFF889}" dt="2023-04-17T20:29:33.793" v="10025"/>
          <ac:spMkLst>
            <pc:docMk/>
            <pc:sldMk cId="206869734" sldId="2147470692"/>
            <ac:spMk id="34" creationId="{BDDD3A46-EE77-960B-850E-947B03BD9260}"/>
          </ac:spMkLst>
        </pc:spChg>
        <pc:spChg chg="add mod replST">
          <ac:chgData name="Ziegler, Moritz" userId="64963377-0688-41ce-81de-c3adb053cc9f" providerId="ADAL" clId="{06E8612E-1905-4FD3-903D-3F804CCFF889}" dt="2023-04-17T20:29:33.790" v="10015"/>
          <ac:spMkLst>
            <pc:docMk/>
            <pc:sldMk cId="206869734" sldId="2147470692"/>
            <ac:spMk id="35" creationId="{FA5F4088-7541-2DC5-FBF6-3E0ABFE01B24}"/>
          </ac:spMkLst>
        </pc:spChg>
        <pc:spChg chg="add mod replST">
          <ac:chgData name="Ziegler, Moritz" userId="64963377-0688-41ce-81de-c3adb053cc9f" providerId="ADAL" clId="{06E8612E-1905-4FD3-903D-3F804CCFF889}" dt="2023-04-17T20:29:33.790" v="10016"/>
          <ac:spMkLst>
            <pc:docMk/>
            <pc:sldMk cId="206869734" sldId="2147470692"/>
            <ac:spMk id="36" creationId="{4D84583C-C9B3-1CCF-4364-47929CBB53A1}"/>
          </ac:spMkLst>
        </pc:spChg>
        <pc:spChg chg="add mod replST">
          <ac:chgData name="Ziegler, Moritz" userId="64963377-0688-41ce-81de-c3adb053cc9f" providerId="ADAL" clId="{06E8612E-1905-4FD3-903D-3F804CCFF889}" dt="2023-04-17T20:29:33.790" v="10017"/>
          <ac:spMkLst>
            <pc:docMk/>
            <pc:sldMk cId="206869734" sldId="2147470692"/>
            <ac:spMk id="37" creationId="{887140DF-0CB8-AD06-928F-AC63151815F7}"/>
          </ac:spMkLst>
        </pc:spChg>
        <pc:spChg chg="add mod replST">
          <ac:chgData name="Ziegler, Moritz" userId="64963377-0688-41ce-81de-c3adb053cc9f" providerId="ADAL" clId="{06E8612E-1905-4FD3-903D-3F804CCFF889}" dt="2023-04-17T20:29:33.794" v="10028"/>
          <ac:spMkLst>
            <pc:docMk/>
            <pc:sldMk cId="206869734" sldId="2147470692"/>
            <ac:spMk id="38" creationId="{7027A4D6-5617-4A70-C241-73E33969C24A}"/>
          </ac:spMkLst>
        </pc:spChg>
        <pc:spChg chg="add mod replST">
          <ac:chgData name="Ziegler, Moritz" userId="64963377-0688-41ce-81de-c3adb053cc9f" providerId="ADAL" clId="{06E8612E-1905-4FD3-903D-3F804CCFF889}" dt="2023-04-17T20:29:33.791" v="10019"/>
          <ac:spMkLst>
            <pc:docMk/>
            <pc:sldMk cId="206869734" sldId="2147470692"/>
            <ac:spMk id="39" creationId="{0E6F191B-7EFC-06EE-8715-657B86874164}"/>
          </ac:spMkLst>
        </pc:spChg>
        <pc:spChg chg="add del mod modVis">
          <ac:chgData name="Ziegler, Moritz" userId="64963377-0688-41ce-81de-c3adb053cc9f" providerId="ADAL" clId="{06E8612E-1905-4FD3-903D-3F804CCFF889}" dt="2023-04-17T20:25:30.511" v="2672"/>
          <ac:spMkLst>
            <pc:docMk/>
            <pc:sldMk cId="206869734" sldId="2147470692"/>
            <ac:spMk id="40" creationId="{17983175-4E76-FDDB-C3CE-94C238B60730}"/>
          </ac:spMkLst>
        </pc:spChg>
        <pc:spChg chg="add del mod modVis">
          <ac:chgData name="Ziegler, Moritz" userId="64963377-0688-41ce-81de-c3adb053cc9f" providerId="ADAL" clId="{06E8612E-1905-4FD3-903D-3F804CCFF889}" dt="2023-04-17T20:25:34.310" v="2923"/>
          <ac:spMkLst>
            <pc:docMk/>
            <pc:sldMk cId="206869734" sldId="2147470692"/>
            <ac:spMk id="42" creationId="{49435EE9-5655-4B65-C816-D759E05FE255}"/>
          </ac:spMkLst>
        </pc:spChg>
        <pc:spChg chg="add del mod modVis">
          <ac:chgData name="Ziegler, Moritz" userId="64963377-0688-41ce-81de-c3adb053cc9f" providerId="ADAL" clId="{06E8612E-1905-4FD3-903D-3F804CCFF889}" dt="2023-04-17T20:25:47.449" v="3065"/>
          <ac:spMkLst>
            <pc:docMk/>
            <pc:sldMk cId="206869734" sldId="2147470692"/>
            <ac:spMk id="44" creationId="{C7E87306-EC99-B09F-AF2A-184AD2079059}"/>
          </ac:spMkLst>
        </pc:spChg>
        <pc:spChg chg="add del mod modVis">
          <ac:chgData name="Ziegler, Moritz" userId="64963377-0688-41ce-81de-c3adb053cc9f" providerId="ADAL" clId="{06E8612E-1905-4FD3-903D-3F804CCFF889}" dt="2023-04-17T20:26:11.133" v="3591"/>
          <ac:spMkLst>
            <pc:docMk/>
            <pc:sldMk cId="206869734" sldId="2147470692"/>
            <ac:spMk id="50" creationId="{CE37874C-692C-4AA2-DBD7-D6B2AC322462}"/>
          </ac:spMkLst>
        </pc:spChg>
        <pc:spChg chg="add del mod modVis">
          <ac:chgData name="Ziegler, Moritz" userId="64963377-0688-41ce-81de-c3adb053cc9f" providerId="ADAL" clId="{06E8612E-1905-4FD3-903D-3F804CCFF889}" dt="2023-04-17T20:26:13.627" v="3698"/>
          <ac:spMkLst>
            <pc:docMk/>
            <pc:sldMk cId="206869734" sldId="2147470692"/>
            <ac:spMk id="52" creationId="{66E0725D-C1AE-6A69-65F6-78DE51C0170C}"/>
          </ac:spMkLst>
        </pc:spChg>
        <pc:spChg chg="add del mod modVis">
          <ac:chgData name="Ziegler, Moritz" userId="64963377-0688-41ce-81de-c3adb053cc9f" providerId="ADAL" clId="{06E8612E-1905-4FD3-903D-3F804CCFF889}" dt="2023-04-17T20:26:15.271" v="3803"/>
          <ac:spMkLst>
            <pc:docMk/>
            <pc:sldMk cId="206869734" sldId="2147470692"/>
            <ac:spMk id="54" creationId="{4F83C3FB-C449-E231-9A8D-898084DE0881}"/>
          </ac:spMkLst>
        </pc:spChg>
        <pc:spChg chg="add del mod modVis">
          <ac:chgData name="Ziegler, Moritz" userId="64963377-0688-41ce-81de-c3adb053cc9f" providerId="ADAL" clId="{06E8612E-1905-4FD3-903D-3F804CCFF889}" dt="2023-04-17T20:26:19.420" v="3910"/>
          <ac:spMkLst>
            <pc:docMk/>
            <pc:sldMk cId="206869734" sldId="2147470692"/>
            <ac:spMk id="56" creationId="{913E1AA9-8962-9C8B-53CA-230BD5F73A1C}"/>
          </ac:spMkLst>
        </pc:spChg>
        <pc:spChg chg="add del mod modVis">
          <ac:chgData name="Ziegler, Moritz" userId="64963377-0688-41ce-81de-c3adb053cc9f" providerId="ADAL" clId="{06E8612E-1905-4FD3-903D-3F804CCFF889}" dt="2023-04-17T20:26:20.986" v="4015"/>
          <ac:spMkLst>
            <pc:docMk/>
            <pc:sldMk cId="206869734" sldId="2147470692"/>
            <ac:spMk id="58" creationId="{EED5ECDE-C3A5-3030-B967-52932AD3FEA0}"/>
          </ac:spMkLst>
        </pc:spChg>
        <pc:spChg chg="add del mod modVis">
          <ac:chgData name="Ziegler, Moritz" userId="64963377-0688-41ce-81de-c3adb053cc9f" providerId="ADAL" clId="{06E8612E-1905-4FD3-903D-3F804CCFF889}" dt="2023-04-17T20:26:24.584" v="4122"/>
          <ac:spMkLst>
            <pc:docMk/>
            <pc:sldMk cId="206869734" sldId="2147470692"/>
            <ac:spMk id="60" creationId="{406075FE-7FBE-266C-4557-203429EDE254}"/>
          </ac:spMkLst>
        </pc:spChg>
        <pc:spChg chg="add del mod modVis">
          <ac:chgData name="Ziegler, Moritz" userId="64963377-0688-41ce-81de-c3adb053cc9f" providerId="ADAL" clId="{06E8612E-1905-4FD3-903D-3F804CCFF889}" dt="2023-04-17T20:26:26.232" v="4227"/>
          <ac:spMkLst>
            <pc:docMk/>
            <pc:sldMk cId="206869734" sldId="2147470692"/>
            <ac:spMk id="62" creationId="{1B8A4363-F512-7626-C670-1DD57C04449A}"/>
          </ac:spMkLst>
        </pc:spChg>
        <pc:spChg chg="add del mod modVis">
          <ac:chgData name="Ziegler, Moritz" userId="64963377-0688-41ce-81de-c3adb053cc9f" providerId="ADAL" clId="{06E8612E-1905-4FD3-903D-3F804CCFF889}" dt="2023-04-17T20:26:31.768" v="4334"/>
          <ac:spMkLst>
            <pc:docMk/>
            <pc:sldMk cId="206869734" sldId="2147470692"/>
            <ac:spMk id="64" creationId="{0B678CE9-DF18-B18B-DFB0-D8513174355C}"/>
          </ac:spMkLst>
        </pc:spChg>
        <pc:spChg chg="add del mod modVis">
          <ac:chgData name="Ziegler, Moritz" userId="64963377-0688-41ce-81de-c3adb053cc9f" providerId="ADAL" clId="{06E8612E-1905-4FD3-903D-3F804CCFF889}" dt="2023-04-17T20:26:35.018" v="4441"/>
          <ac:spMkLst>
            <pc:docMk/>
            <pc:sldMk cId="206869734" sldId="2147470692"/>
            <ac:spMk id="66" creationId="{9092CAEC-0C0A-9C25-CCE0-FF97590853CA}"/>
          </ac:spMkLst>
        </pc:spChg>
        <pc:spChg chg="add del mod modVis">
          <ac:chgData name="Ziegler, Moritz" userId="64963377-0688-41ce-81de-c3adb053cc9f" providerId="ADAL" clId="{06E8612E-1905-4FD3-903D-3F804CCFF889}" dt="2023-04-17T20:26:37.548" v="4548"/>
          <ac:spMkLst>
            <pc:docMk/>
            <pc:sldMk cId="206869734" sldId="2147470692"/>
            <ac:spMk id="68" creationId="{983A9484-C30C-B2AF-6B12-96F817A49E1A}"/>
          </ac:spMkLst>
        </pc:spChg>
        <pc:spChg chg="add del mod modVis">
          <ac:chgData name="Ziegler, Moritz" userId="64963377-0688-41ce-81de-c3adb053cc9f" providerId="ADAL" clId="{06E8612E-1905-4FD3-903D-3F804CCFF889}" dt="2023-04-17T20:26:39.936" v="4653"/>
          <ac:spMkLst>
            <pc:docMk/>
            <pc:sldMk cId="206869734" sldId="2147470692"/>
            <ac:spMk id="70" creationId="{D42E8E0B-2059-0644-3D8D-7515127D73A6}"/>
          </ac:spMkLst>
        </pc:spChg>
        <pc:spChg chg="add del mod modVis">
          <ac:chgData name="Ziegler, Moritz" userId="64963377-0688-41ce-81de-c3adb053cc9f" providerId="ADAL" clId="{06E8612E-1905-4FD3-903D-3F804CCFF889}" dt="2023-04-17T20:26:42.544" v="4760"/>
          <ac:spMkLst>
            <pc:docMk/>
            <pc:sldMk cId="206869734" sldId="2147470692"/>
            <ac:spMk id="72" creationId="{2F338DBC-7806-C342-C298-FA4D5C95F889}"/>
          </ac:spMkLst>
        </pc:spChg>
        <pc:spChg chg="add del mod modVis">
          <ac:chgData name="Ziegler, Moritz" userId="64963377-0688-41ce-81de-c3adb053cc9f" providerId="ADAL" clId="{06E8612E-1905-4FD3-903D-3F804CCFF889}" dt="2023-04-17T20:26:44.825" v="4865"/>
          <ac:spMkLst>
            <pc:docMk/>
            <pc:sldMk cId="206869734" sldId="2147470692"/>
            <ac:spMk id="74" creationId="{45973B2D-528C-5A3A-246D-975762B7210B}"/>
          </ac:spMkLst>
        </pc:spChg>
        <pc:spChg chg="add del mod modVis">
          <ac:chgData name="Ziegler, Moritz" userId="64963377-0688-41ce-81de-c3adb053cc9f" providerId="ADAL" clId="{06E8612E-1905-4FD3-903D-3F804CCFF889}" dt="2023-04-17T20:26:59.871" v="4961"/>
          <ac:spMkLst>
            <pc:docMk/>
            <pc:sldMk cId="206869734" sldId="2147470692"/>
            <ac:spMk id="76" creationId="{AAD71BC0-7395-9222-C7CD-6D86469B90B6}"/>
          </ac:spMkLst>
        </pc:spChg>
        <pc:spChg chg="add del mod modVis">
          <ac:chgData name="Ziegler, Moritz" userId="64963377-0688-41ce-81de-c3adb053cc9f" providerId="ADAL" clId="{06E8612E-1905-4FD3-903D-3F804CCFF889}" dt="2023-04-17T20:27:44.948" v="5844"/>
          <ac:spMkLst>
            <pc:docMk/>
            <pc:sldMk cId="206869734" sldId="2147470692"/>
            <ac:spMk id="87" creationId="{595836BE-06A4-CA28-E6A5-9651268A9D74}"/>
          </ac:spMkLst>
        </pc:spChg>
        <pc:spChg chg="add mod replST">
          <ac:chgData name="Ziegler, Moritz" userId="64963377-0688-41ce-81de-c3adb053cc9f" providerId="ADAL" clId="{06E8612E-1905-4FD3-903D-3F804CCFF889}" dt="2023-04-17T20:29:33.794" v="10029"/>
          <ac:spMkLst>
            <pc:docMk/>
            <pc:sldMk cId="206869734" sldId="2147470692"/>
            <ac:spMk id="90" creationId="{F3A34782-E3A2-CF42-9904-29EE5398AD9A}"/>
          </ac:spMkLst>
        </pc:spChg>
        <pc:spChg chg="add del mod modVis">
          <ac:chgData name="Ziegler, Moritz" userId="64963377-0688-41ce-81de-c3adb053cc9f" providerId="ADAL" clId="{06E8612E-1905-4FD3-903D-3F804CCFF889}" dt="2023-04-17T20:27:51.573" v="6078"/>
          <ac:spMkLst>
            <pc:docMk/>
            <pc:sldMk cId="206869734" sldId="2147470692"/>
            <ac:spMk id="91" creationId="{58202BA7-5B50-5711-7A54-FC2DA914AD3C}"/>
          </ac:spMkLst>
        </pc:spChg>
        <pc:spChg chg="add del mod modVis">
          <ac:chgData name="Ziegler, Moritz" userId="64963377-0688-41ce-81de-c3adb053cc9f" providerId="ADAL" clId="{06E8612E-1905-4FD3-903D-3F804CCFF889}" dt="2023-04-17T20:29:14.058" v="8350"/>
          <ac:spMkLst>
            <pc:docMk/>
            <pc:sldMk cId="206869734" sldId="2147470692"/>
            <ac:spMk id="96" creationId="{3B65DBE2-0012-8748-61B9-54D911097007}"/>
          </ac:spMkLst>
        </pc:spChg>
        <pc:spChg chg="add del mod modVis">
          <ac:chgData name="Ziegler, Moritz" userId="64963377-0688-41ce-81de-c3adb053cc9f" providerId="ADAL" clId="{06E8612E-1905-4FD3-903D-3F804CCFF889}" dt="2023-04-17T20:29:33.824" v="10049"/>
          <ac:spMkLst>
            <pc:docMk/>
            <pc:sldMk cId="206869734" sldId="2147470692"/>
            <ac:spMk id="98" creationId="{549A9F8D-E00A-DADC-7F0D-6051EEB6C78A}"/>
          </ac:spMkLst>
        </pc:spChg>
        <pc:graphicFrameChg chg="add mod ord modVis replST">
          <ac:chgData name="Ziegler, Moritz" userId="64963377-0688-41ce-81de-c3adb053cc9f" providerId="ADAL" clId="{06E8612E-1905-4FD3-903D-3F804CCFF889}" dt="2023-04-17T20:29:33.833" v="10051"/>
          <ac:graphicFrameMkLst>
            <pc:docMk/>
            <pc:sldMk cId="206869734" sldId="2147470692"/>
            <ac:graphicFrameMk id="5" creationId="{8197A92F-0241-9E41-AB5F-2EED91E3A04A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5:30.477" v="2618"/>
          <ac:graphicFrameMkLst>
            <pc:docMk/>
            <pc:sldMk cId="206869734" sldId="2147470692"/>
            <ac:graphicFrameMk id="6" creationId="{75FDCAF4-FBC3-C3B4-0674-7696CA4F8BE1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5:34.282" v="2873"/>
          <ac:graphicFrameMkLst>
            <pc:docMk/>
            <pc:sldMk cId="206869734" sldId="2147470692"/>
            <ac:graphicFrameMk id="41" creationId="{8618CFB5-F1F6-226C-9EB4-CF66728D7A9E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5:47.423" v="3015"/>
          <ac:graphicFrameMkLst>
            <pc:docMk/>
            <pc:sldMk cId="206869734" sldId="2147470692"/>
            <ac:graphicFrameMk id="43" creationId="{0AECC782-0A3D-5F2C-7593-FC6BC9D490BE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5:47.932" v="3113"/>
          <ac:graphicFrameMkLst>
            <pc:docMk/>
            <pc:sldMk cId="206869734" sldId="2147470692"/>
            <ac:graphicFrameMk id="45" creationId="{502F57B3-327D-580E-BF2F-4C294A2FDD77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5:50.519" v="3210"/>
          <ac:graphicFrameMkLst>
            <pc:docMk/>
            <pc:sldMk cId="206869734" sldId="2147470692"/>
            <ac:graphicFrameMk id="46" creationId="{0931DF3A-03A6-6ED2-D574-B229D68FC7EA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5:52.201" v="3352"/>
          <ac:graphicFrameMkLst>
            <pc:docMk/>
            <pc:sldMk cId="206869734" sldId="2147470692"/>
            <ac:graphicFrameMk id="47" creationId="{013F9A57-B374-3B33-4815-0742ED839D79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5:53.632" v="3449"/>
          <ac:graphicFrameMkLst>
            <pc:docMk/>
            <pc:sldMk cId="206869734" sldId="2147470692"/>
            <ac:graphicFrameMk id="48" creationId="{77D60002-C9B1-B17B-4658-3646042ECF41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11.071" v="3554"/>
          <ac:graphicFrameMkLst>
            <pc:docMk/>
            <pc:sldMk cId="206869734" sldId="2147470692"/>
            <ac:graphicFrameMk id="49" creationId="{95B4EE1C-40A3-2BBA-5196-87F51131210D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13.578" v="3661"/>
          <ac:graphicFrameMkLst>
            <pc:docMk/>
            <pc:sldMk cId="206869734" sldId="2147470692"/>
            <ac:graphicFrameMk id="51" creationId="{54621FAF-96CE-9988-C3E4-137D52A9FBDB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15.213" v="3766"/>
          <ac:graphicFrameMkLst>
            <pc:docMk/>
            <pc:sldMk cId="206869734" sldId="2147470692"/>
            <ac:graphicFrameMk id="53" creationId="{47B4E85C-2B9D-6D2E-12B7-6C3169F324EC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19.368" v="3873"/>
          <ac:graphicFrameMkLst>
            <pc:docMk/>
            <pc:sldMk cId="206869734" sldId="2147470692"/>
            <ac:graphicFrameMk id="55" creationId="{C2374798-4D6E-F906-E1CF-E620238137BA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20.909" v="3978"/>
          <ac:graphicFrameMkLst>
            <pc:docMk/>
            <pc:sldMk cId="206869734" sldId="2147470692"/>
            <ac:graphicFrameMk id="57" creationId="{1C92167C-F7C8-0364-B62A-017ACAD7BF4A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24.512" v="4085"/>
          <ac:graphicFrameMkLst>
            <pc:docMk/>
            <pc:sldMk cId="206869734" sldId="2147470692"/>
            <ac:graphicFrameMk id="59" creationId="{31044008-B632-5F74-DAC7-9591369A6830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26.179" v="4190"/>
          <ac:graphicFrameMkLst>
            <pc:docMk/>
            <pc:sldMk cId="206869734" sldId="2147470692"/>
            <ac:graphicFrameMk id="61" creationId="{87CB66B6-73BF-6CEC-FCD9-0AF1E9D74CC8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31.705" v="4297"/>
          <ac:graphicFrameMkLst>
            <pc:docMk/>
            <pc:sldMk cId="206869734" sldId="2147470692"/>
            <ac:graphicFrameMk id="63" creationId="{6395BFB4-0496-765C-40EB-CFF95866E44E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34.944" v="4404"/>
          <ac:graphicFrameMkLst>
            <pc:docMk/>
            <pc:sldMk cId="206869734" sldId="2147470692"/>
            <ac:graphicFrameMk id="65" creationId="{865D0E83-0A8C-2F4B-0AEF-3610D895CCF0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37.472" v="4511"/>
          <ac:graphicFrameMkLst>
            <pc:docMk/>
            <pc:sldMk cId="206869734" sldId="2147470692"/>
            <ac:graphicFrameMk id="67" creationId="{38236177-ADE9-586B-4A27-4059F8ADD121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39.874" v="4616"/>
          <ac:graphicFrameMkLst>
            <pc:docMk/>
            <pc:sldMk cId="206869734" sldId="2147470692"/>
            <ac:graphicFrameMk id="69" creationId="{C7A32C83-8D98-4F4A-F138-72E8B81EA9C7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42.480" v="4723"/>
          <ac:graphicFrameMkLst>
            <pc:docMk/>
            <pc:sldMk cId="206869734" sldId="2147470692"/>
            <ac:graphicFrameMk id="71" creationId="{53D44FD9-2BB7-34DF-20A0-FD0A8489C80F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44.764" v="4828"/>
          <ac:graphicFrameMkLst>
            <pc:docMk/>
            <pc:sldMk cId="206869734" sldId="2147470692"/>
            <ac:graphicFrameMk id="73" creationId="{CB03C926-92FC-976D-E853-44F47ABA6C17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6:59.843" v="4924"/>
          <ac:graphicFrameMkLst>
            <pc:docMk/>
            <pc:sldMk cId="206869734" sldId="2147470692"/>
            <ac:graphicFrameMk id="75" creationId="{E34B8F2E-10C8-8E4E-010B-1535BA74A659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03.140" v="5025"/>
          <ac:graphicFrameMkLst>
            <pc:docMk/>
            <pc:sldMk cId="206869734" sldId="2147470692"/>
            <ac:graphicFrameMk id="77" creationId="{2549F7E1-A055-A0A0-402B-7FDDE5855282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05.462" v="5112"/>
          <ac:graphicFrameMkLst>
            <pc:docMk/>
            <pc:sldMk cId="206869734" sldId="2147470692"/>
            <ac:graphicFrameMk id="78" creationId="{EFDF41EF-7E34-CB63-FF5D-A6A4F3C2F349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07.320" v="5215"/>
          <ac:graphicFrameMkLst>
            <pc:docMk/>
            <pc:sldMk cId="206869734" sldId="2147470692"/>
            <ac:graphicFrameMk id="80" creationId="{A6147E01-7414-A618-6545-844A47EEBBF7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08.401" v="5318"/>
          <ac:graphicFrameMkLst>
            <pc:docMk/>
            <pc:sldMk cId="206869734" sldId="2147470692"/>
            <ac:graphicFrameMk id="81" creationId="{4EC58225-3E4F-D511-DEC9-9F4EA1E24F3E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10.046" v="5421"/>
          <ac:graphicFrameMkLst>
            <pc:docMk/>
            <pc:sldMk cId="206869734" sldId="2147470692"/>
            <ac:graphicFrameMk id="82" creationId="{A9B48CEC-4BB0-7D5D-42A0-3C379378BDE2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28.085" v="5475"/>
          <ac:graphicFrameMkLst>
            <pc:docMk/>
            <pc:sldMk cId="206869734" sldId="2147470692"/>
            <ac:graphicFrameMk id="83" creationId="{9A48DB86-B15D-2608-8A24-4406DE84CF6E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33.196" v="5529"/>
          <ac:graphicFrameMkLst>
            <pc:docMk/>
            <pc:sldMk cId="206869734" sldId="2147470692"/>
            <ac:graphicFrameMk id="84" creationId="{EF7235DB-C5E8-A702-92B7-6724F8ECDE29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36.217" v="5602"/>
          <ac:graphicFrameMkLst>
            <pc:docMk/>
            <pc:sldMk cId="206869734" sldId="2147470692"/>
            <ac:graphicFrameMk id="85" creationId="{62C4F74E-0A3D-FE8D-882D-051F5CEBD30F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44.926" v="5807"/>
          <ac:graphicFrameMkLst>
            <pc:docMk/>
            <pc:sldMk cId="206869734" sldId="2147470692"/>
            <ac:graphicFrameMk id="86" creationId="{277E67EB-345F-F859-107A-9389E3CD5A53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47.471" v="5882"/>
          <ac:graphicFrameMkLst>
            <pc:docMk/>
            <pc:sldMk cId="206869734" sldId="2147470692"/>
            <ac:graphicFrameMk id="88" creationId="{5F678257-49F6-70FF-15C2-04D8E7C99B2E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51.556" v="6040"/>
          <ac:graphicFrameMkLst>
            <pc:docMk/>
            <pc:sldMk cId="206869734" sldId="2147470692"/>
            <ac:graphicFrameMk id="89" creationId="{93EC1E93-ADAA-578E-C39F-4A9635BDC436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54.684" v="6106"/>
          <ac:graphicFrameMkLst>
            <pc:docMk/>
            <pc:sldMk cId="206869734" sldId="2147470692"/>
            <ac:graphicFrameMk id="92" creationId="{D8620359-C941-4013-286D-5D429ACFCA99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7:55.647" v="6164"/>
          <ac:graphicFrameMkLst>
            <pc:docMk/>
            <pc:sldMk cId="206869734" sldId="2147470692"/>
            <ac:graphicFrameMk id="93" creationId="{52A760A6-865C-365F-CCEA-D821CEA22D0A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8:00.201" v="6223"/>
          <ac:graphicFrameMkLst>
            <pc:docMk/>
            <pc:sldMk cId="206869734" sldId="2147470692"/>
            <ac:graphicFrameMk id="94" creationId="{D14157E0-E313-67AE-D211-B8A902E48873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9:13.994" v="8282"/>
          <ac:graphicFrameMkLst>
            <pc:docMk/>
            <pc:sldMk cId="206869734" sldId="2147470692"/>
            <ac:graphicFrameMk id="95" creationId="{1E26E7C2-6E73-0237-3167-476FE3F87518}"/>
          </ac:graphicFrameMkLst>
        </pc:graphicFrameChg>
        <pc:graphicFrameChg chg="add del mod replST">
          <ac:chgData name="Ziegler, Moritz" userId="64963377-0688-41ce-81de-c3adb053cc9f" providerId="ADAL" clId="{06E8612E-1905-4FD3-903D-3F804CCFF889}" dt="2023-04-17T20:29:33.771" v="9995"/>
          <ac:graphicFrameMkLst>
            <pc:docMk/>
            <pc:sldMk cId="206869734" sldId="2147470692"/>
            <ac:graphicFrameMk id="97" creationId="{8C340032-C3A7-EF82-4330-4493BEA28DCE}"/>
          </ac:graphicFrameMkLst>
        </pc:graphicFrameChg>
        <pc:graphicFrameChg chg="add mod replST">
          <ac:chgData name="Ziegler, Moritz" userId="64963377-0688-41ce-81de-c3adb053cc9f" providerId="ADAL" clId="{06E8612E-1905-4FD3-903D-3F804CCFF889}" dt="2023-04-17T20:29:33.788" v="10006"/>
          <ac:graphicFrameMkLst>
            <pc:docMk/>
            <pc:sldMk cId="206869734" sldId="2147470692"/>
            <ac:graphicFrameMk id="99" creationId="{4BF0EFD1-852B-7200-5253-AFDB720B678E}"/>
          </ac:graphicFrameMkLst>
        </pc:graphicFrameChg>
        <pc:cxnChg chg="add mod ord replST">
          <ac:chgData name="Ziegler, Moritz" userId="64963377-0688-41ce-81de-c3adb053cc9f" providerId="ADAL" clId="{06E8612E-1905-4FD3-903D-3F804CCFF889}" dt="2023-04-17T20:29:33.790" v="10014"/>
          <ac:cxnSpMkLst>
            <pc:docMk/>
            <pc:sldMk cId="206869734" sldId="2147470692"/>
            <ac:cxnSpMk id="20" creationId="{7A14C350-D69F-1C3F-BB21-861A9E789B48}"/>
          </ac:cxnSpMkLst>
        </pc:cxnChg>
        <pc:cxnChg chg="add mod ord replST">
          <ac:chgData name="Ziegler, Moritz" userId="64963377-0688-41ce-81de-c3adb053cc9f" providerId="ADAL" clId="{06E8612E-1905-4FD3-903D-3F804CCFF889}" dt="2023-04-17T20:29:33.789" v="10010"/>
          <ac:cxnSpMkLst>
            <pc:docMk/>
            <pc:sldMk cId="206869734" sldId="2147470692"/>
            <ac:cxnSpMk id="21" creationId="{723485F9-8E88-0008-D015-87C291439CFC}"/>
          </ac:cxnSpMkLst>
        </pc:cxnChg>
        <pc:cxnChg chg="add mod ord replST">
          <ac:chgData name="Ziegler, Moritz" userId="64963377-0688-41ce-81de-c3adb053cc9f" providerId="ADAL" clId="{06E8612E-1905-4FD3-903D-3F804CCFF889}" dt="2023-04-17T20:29:33.788" v="10008"/>
          <ac:cxnSpMkLst>
            <pc:docMk/>
            <pc:sldMk cId="206869734" sldId="2147470692"/>
            <ac:cxnSpMk id="22" creationId="{0F253F19-5CAC-D795-5FED-A92306C4DE50}"/>
          </ac:cxnSpMkLst>
        </pc:cxnChg>
        <pc:cxnChg chg="add del mod ord replST">
          <ac:chgData name="Ziegler, Moritz" userId="64963377-0688-41ce-81de-c3adb053cc9f" providerId="ADAL" clId="{06E8612E-1905-4FD3-903D-3F804CCFF889}" dt="2023-04-17T20:25:34.281" v="2871"/>
          <ac:cxnSpMkLst>
            <pc:docMk/>
            <pc:sldMk cId="206869734" sldId="2147470692"/>
            <ac:cxnSpMk id="23" creationId="{D9241EDF-5D36-F8D4-6646-BCA5A4E10B7F}"/>
          </ac:cxnSpMkLst>
        </pc:cxnChg>
        <pc:cxnChg chg="add del mod ord replST">
          <ac:chgData name="Ziegler, Moritz" userId="64963377-0688-41ce-81de-c3adb053cc9f" providerId="ADAL" clId="{06E8612E-1905-4FD3-903D-3F804CCFF889}" dt="2023-04-17T20:25:34.267" v="2817"/>
          <ac:cxnSpMkLst>
            <pc:docMk/>
            <pc:sldMk cId="206869734" sldId="2147470692"/>
            <ac:cxnSpMk id="24" creationId="{DE99DA75-0139-023A-9C99-01D353321661}"/>
          </ac:cxnSpMkLst>
        </pc:cxnChg>
        <pc:cxnChg chg="add mod ord replST">
          <ac:chgData name="Ziegler, Moritz" userId="64963377-0688-41ce-81de-c3adb053cc9f" providerId="ADAL" clId="{06E8612E-1905-4FD3-903D-3F804CCFF889}" dt="2023-04-17T20:29:33.789" v="10012"/>
          <ac:cxnSpMkLst>
            <pc:docMk/>
            <pc:sldMk cId="206869734" sldId="2147470692"/>
            <ac:cxnSpMk id="25" creationId="{5E40E87B-AF07-FD13-C235-2025E4513054}"/>
          </ac:cxnSpMkLst>
        </pc:cxnChg>
        <pc:cxnChg chg="add del mod ord replST">
          <ac:chgData name="Ziegler, Moritz" userId="64963377-0688-41ce-81de-c3adb053cc9f" providerId="ADAL" clId="{06E8612E-1905-4FD3-903D-3F804CCFF889}" dt="2023-04-17T20:27:10.045" v="5419"/>
          <ac:cxnSpMkLst>
            <pc:docMk/>
            <pc:sldMk cId="206869734" sldId="2147470692"/>
            <ac:cxnSpMk id="79" creationId="{98D1049C-0FC8-95B0-B3FA-04C1D6BACAF1}"/>
          </ac:cxnSpMkLst>
        </pc:cxnChg>
      </pc:sldChg>
      <pc:sldChg chg="addSp delSp modSp add del mod">
        <pc:chgData name="Ziegler, Moritz" userId="64963377-0688-41ce-81de-c3adb053cc9f" providerId="ADAL" clId="{06E8612E-1905-4FD3-903D-3F804CCFF889}" dt="2023-04-17T21:07:43.774" v="11596" actId="47"/>
        <pc:sldMkLst>
          <pc:docMk/>
          <pc:sldMk cId="1035236254" sldId="2147470693"/>
        </pc:sldMkLst>
        <pc:spChg chg="add del mod replST">
          <ac:chgData name="Ziegler, Moritz" userId="64963377-0688-41ce-81de-c3adb053cc9f" providerId="ADAL" clId="{06E8612E-1905-4FD3-903D-3F804CCFF889}" dt="2023-04-17T20:30:30.416" v="10067" actId="478"/>
          <ac:spMkLst>
            <pc:docMk/>
            <pc:sldMk cId="1035236254" sldId="2147470693"/>
            <ac:spMk id="2" creationId="{640E0C73-4EB9-BA7B-D202-A2A3A42E8C94}"/>
          </ac:spMkLst>
        </pc:spChg>
        <pc:spChg chg="add del mod">
          <ac:chgData name="Ziegler, Moritz" userId="64963377-0688-41ce-81de-c3adb053cc9f" providerId="ADAL" clId="{06E8612E-1905-4FD3-903D-3F804CCFF889}" dt="2023-04-17T20:32:34.727" v="10087"/>
          <ac:spMkLst>
            <pc:docMk/>
            <pc:sldMk cId="1035236254" sldId="2147470693"/>
            <ac:spMk id="3" creationId="{51E07AEF-7F5A-14C2-3CB8-4A66191489FE}"/>
          </ac:spMkLst>
        </pc:spChg>
        <pc:spChg chg="add mod ord">
          <ac:chgData name="Ziegler, Moritz" userId="64963377-0688-41ce-81de-c3adb053cc9f" providerId="ADAL" clId="{06E8612E-1905-4FD3-903D-3F804CCFF889}" dt="2023-04-17T20:47:11.658" v="10754"/>
          <ac:spMkLst>
            <pc:docMk/>
            <pc:sldMk cId="1035236254" sldId="2147470693"/>
            <ac:spMk id="4" creationId="{BFB6E82C-33C1-5F78-F444-9BACA6DF0BB5}"/>
          </ac:spMkLst>
        </pc:spChg>
        <pc:spChg chg="mod ord">
          <ac:chgData name="Ziegler, Moritz" userId="64963377-0688-41ce-81de-c3adb053cc9f" providerId="ADAL" clId="{06E8612E-1905-4FD3-903D-3F804CCFF889}" dt="2023-04-17T20:47:11.658" v="10750"/>
          <ac:spMkLst>
            <pc:docMk/>
            <pc:sldMk cId="1035236254" sldId="2147470693"/>
            <ac:spMk id="5" creationId="{BE69B541-0C44-1FA8-BCBE-18CA8F34C031}"/>
          </ac:spMkLst>
        </pc:spChg>
        <pc:spChg chg="mod ord">
          <ac:chgData name="Ziegler, Moritz" userId="64963377-0688-41ce-81de-c3adb053cc9f" providerId="ADAL" clId="{06E8612E-1905-4FD3-903D-3F804CCFF889}" dt="2023-04-17T20:47:11.658" v="10752"/>
          <ac:spMkLst>
            <pc:docMk/>
            <pc:sldMk cId="1035236254" sldId="2147470693"/>
            <ac:spMk id="6" creationId="{7F2586C5-63B0-2C6D-3CB5-B23F54523A4A}"/>
          </ac:spMkLst>
        </pc:spChg>
        <pc:spChg chg="add mod ord topLvl">
          <ac:chgData name="Ziegler, Moritz" userId="64963377-0688-41ce-81de-c3adb053cc9f" providerId="ADAL" clId="{06E8612E-1905-4FD3-903D-3F804CCFF889}" dt="2023-04-17T20:47:11.659" v="10760"/>
          <ac:spMkLst>
            <pc:docMk/>
            <pc:sldMk cId="1035236254" sldId="2147470693"/>
            <ac:spMk id="8" creationId="{A5F2DFED-A2A7-8C41-BF24-14B187DAB69F}"/>
          </ac:spMkLst>
        </pc:spChg>
        <pc:spChg chg="add mod ord topLvl">
          <ac:chgData name="Ziegler, Moritz" userId="64963377-0688-41ce-81de-c3adb053cc9f" providerId="ADAL" clId="{06E8612E-1905-4FD3-903D-3F804CCFF889}" dt="2023-04-17T20:47:11.659" v="10758"/>
          <ac:spMkLst>
            <pc:docMk/>
            <pc:sldMk cId="1035236254" sldId="2147470693"/>
            <ac:spMk id="9" creationId="{10FFD8A4-53CB-76D6-3A12-BADE60951C54}"/>
          </ac:spMkLst>
        </pc:spChg>
        <pc:spChg chg="add del mod modVis">
          <ac:chgData name="Ziegler, Moritz" userId="64963377-0688-41ce-81de-c3adb053cc9f" providerId="ADAL" clId="{06E8612E-1905-4FD3-903D-3F804CCFF889}" dt="2023-04-17T20:34:58.846" v="10253"/>
          <ac:spMkLst>
            <pc:docMk/>
            <pc:sldMk cId="1035236254" sldId="2147470693"/>
            <ac:spMk id="10" creationId="{A6A3B685-69ED-BCDA-8B92-5F47AD55B079}"/>
          </ac:spMkLst>
        </pc:spChg>
        <pc:spChg chg="add mod ord topLvl">
          <ac:chgData name="Ziegler, Moritz" userId="64963377-0688-41ce-81de-c3adb053cc9f" providerId="ADAL" clId="{06E8612E-1905-4FD3-903D-3F804CCFF889}" dt="2023-04-17T20:47:11.659" v="10756"/>
          <ac:spMkLst>
            <pc:docMk/>
            <pc:sldMk cId="1035236254" sldId="2147470693"/>
            <ac:spMk id="11" creationId="{0DCC223C-314F-C05A-9068-C2F4255BD599}"/>
          </ac:spMkLst>
        </pc:spChg>
        <pc:spChg chg="del">
          <ac:chgData name="Ziegler, Moritz" userId="64963377-0688-41ce-81de-c3adb053cc9f" providerId="ADAL" clId="{06E8612E-1905-4FD3-903D-3F804CCFF889}" dt="2023-04-17T20:30:01.644" v="10054" actId="478"/>
          <ac:spMkLst>
            <pc:docMk/>
            <pc:sldMk cId="1035236254" sldId="2147470693"/>
            <ac:spMk id="12" creationId="{00A3E5D3-5EFB-6A3B-1C4E-A491A1A59357}"/>
          </ac:spMkLst>
        </pc:spChg>
        <pc:spChg chg="add mod">
          <ac:chgData name="Ziegler, Moritz" userId="64963377-0688-41ce-81de-c3adb053cc9f" providerId="ADAL" clId="{06E8612E-1905-4FD3-903D-3F804CCFF889}" dt="2023-04-17T20:37:10.185" v="10381" actId="165"/>
          <ac:spMkLst>
            <pc:docMk/>
            <pc:sldMk cId="1035236254" sldId="2147470693"/>
            <ac:spMk id="13" creationId="{F54F12FD-117D-DF90-7067-CDB98EE19BED}"/>
          </ac:spMkLst>
        </pc:spChg>
        <pc:spChg chg="add mod">
          <ac:chgData name="Ziegler, Moritz" userId="64963377-0688-41ce-81de-c3adb053cc9f" providerId="ADAL" clId="{06E8612E-1905-4FD3-903D-3F804CCFF889}" dt="2023-04-17T20:37:10.185" v="10381" actId="165"/>
          <ac:spMkLst>
            <pc:docMk/>
            <pc:sldMk cId="1035236254" sldId="2147470693"/>
            <ac:spMk id="14" creationId="{87AD0E46-31EF-3D57-8CDD-CAFF264FE24F}"/>
          </ac:spMkLst>
        </pc:spChg>
        <pc:spChg chg="add mod">
          <ac:chgData name="Ziegler, Moritz" userId="64963377-0688-41ce-81de-c3adb053cc9f" providerId="ADAL" clId="{06E8612E-1905-4FD3-903D-3F804CCFF889}" dt="2023-04-17T20:37:10.185" v="10381" actId="165"/>
          <ac:spMkLst>
            <pc:docMk/>
            <pc:sldMk cId="1035236254" sldId="2147470693"/>
            <ac:spMk id="15" creationId="{8AF0DE0C-6BE9-E06A-A9BA-E1DFF5C06442}"/>
          </ac:spMkLst>
        </pc:spChg>
        <pc:spChg chg="add mod ord">
          <ac:chgData name="Ziegler, Moritz" userId="64963377-0688-41ce-81de-c3adb053cc9f" providerId="ADAL" clId="{06E8612E-1905-4FD3-903D-3F804CCFF889}" dt="2023-04-17T20:47:11.659" v="10764"/>
          <ac:spMkLst>
            <pc:docMk/>
            <pc:sldMk cId="1035236254" sldId="2147470693"/>
            <ac:spMk id="24" creationId="{3C30D359-A9CB-35BA-7750-DBE090B0685B}"/>
          </ac:spMkLst>
        </pc:spChg>
        <pc:spChg chg="add mod">
          <ac:chgData name="Ziegler, Moritz" userId="64963377-0688-41ce-81de-c3adb053cc9f" providerId="ADAL" clId="{06E8612E-1905-4FD3-903D-3F804CCFF889}" dt="2023-04-17T20:42:36.138" v="10585"/>
          <ac:spMkLst>
            <pc:docMk/>
            <pc:sldMk cId="1035236254" sldId="2147470693"/>
            <ac:spMk id="27" creationId="{CDF92CA0-22F0-0EEE-77A5-9BB1F416A03E}"/>
          </ac:spMkLst>
        </pc:spChg>
        <pc:spChg chg="add mod ord">
          <ac:chgData name="Ziegler, Moritz" userId="64963377-0688-41ce-81de-c3adb053cc9f" providerId="ADAL" clId="{06E8612E-1905-4FD3-903D-3F804CCFF889}" dt="2023-04-17T20:47:19.746" v="10791" actId="1076"/>
          <ac:spMkLst>
            <pc:docMk/>
            <pc:sldMk cId="1035236254" sldId="2147470693"/>
            <ac:spMk id="28" creationId="{1B6883DB-FFE9-75A4-1FC3-CB06DF94CC70}"/>
          </ac:spMkLst>
        </pc:spChg>
        <pc:spChg chg="add del mod">
          <ac:chgData name="Ziegler, Moritz" userId="64963377-0688-41ce-81de-c3adb053cc9f" providerId="ADAL" clId="{06E8612E-1905-4FD3-903D-3F804CCFF889}" dt="2023-04-17T20:43:47.729" v="10607" actId="478"/>
          <ac:spMkLst>
            <pc:docMk/>
            <pc:sldMk cId="1035236254" sldId="2147470693"/>
            <ac:spMk id="40" creationId="{D86221F2-684F-B78D-86C0-CD6A6D01FEF7}"/>
          </ac:spMkLst>
        </pc:spChg>
        <pc:spChg chg="add mod ord">
          <ac:chgData name="Ziegler, Moritz" userId="64963377-0688-41ce-81de-c3adb053cc9f" providerId="ADAL" clId="{06E8612E-1905-4FD3-903D-3F804CCFF889}" dt="2023-04-17T20:47:11.663" v="10774"/>
          <ac:spMkLst>
            <pc:docMk/>
            <pc:sldMk cId="1035236254" sldId="2147470693"/>
            <ac:spMk id="41" creationId="{1F01BA2C-EB15-D0B2-3244-F269FBFFEF98}"/>
          </ac:spMkLst>
        </pc:spChg>
        <pc:spChg chg="add mod ord">
          <ac:chgData name="Ziegler, Moritz" userId="64963377-0688-41ce-81de-c3adb053cc9f" providerId="ADAL" clId="{06E8612E-1905-4FD3-903D-3F804CCFF889}" dt="2023-04-17T20:47:11.663" v="10776"/>
          <ac:spMkLst>
            <pc:docMk/>
            <pc:sldMk cId="1035236254" sldId="2147470693"/>
            <ac:spMk id="42" creationId="{91B8FFA4-9040-CA56-2845-7EDE4521D0F8}"/>
          </ac:spMkLst>
        </pc:spChg>
        <pc:spChg chg="add mod ord">
          <ac:chgData name="Ziegler, Moritz" userId="64963377-0688-41ce-81de-c3adb053cc9f" providerId="ADAL" clId="{06E8612E-1905-4FD3-903D-3F804CCFF889}" dt="2023-04-17T20:48:06.759" v="10806" actId="14100"/>
          <ac:spMkLst>
            <pc:docMk/>
            <pc:sldMk cId="1035236254" sldId="2147470693"/>
            <ac:spMk id="43" creationId="{340556B5-1FF0-6B1A-482A-F3498D123CD5}"/>
          </ac:spMkLst>
        </pc:spChg>
        <pc:spChg chg="add mod">
          <ac:chgData name="Ziegler, Moritz" userId="64963377-0688-41ce-81de-c3adb053cc9f" providerId="ADAL" clId="{06E8612E-1905-4FD3-903D-3F804CCFF889}" dt="2023-04-17T20:47:31.213" v="10799" actId="20577"/>
          <ac:spMkLst>
            <pc:docMk/>
            <pc:sldMk cId="1035236254" sldId="2147470693"/>
            <ac:spMk id="53" creationId="{A63D7339-C6FC-CCD5-F131-5B46B5304487}"/>
          </ac:spMkLst>
        </pc:spChg>
        <pc:grpChg chg="add mod">
          <ac:chgData name="Ziegler, Moritz" userId="64963377-0688-41ce-81de-c3adb053cc9f" providerId="ADAL" clId="{06E8612E-1905-4FD3-903D-3F804CCFF889}" dt="2023-04-17T20:36:51.286" v="10376" actId="164"/>
          <ac:grpSpMkLst>
            <pc:docMk/>
            <pc:sldMk cId="1035236254" sldId="2147470693"/>
            <ac:grpSpMk id="16" creationId="{D4FE24F5-C556-A039-7A2B-4B9537114BD0}"/>
          </ac:grpSpMkLst>
        </pc:grpChg>
        <pc:grpChg chg="add mod">
          <ac:chgData name="Ziegler, Moritz" userId="64963377-0688-41ce-81de-c3adb053cc9f" providerId="ADAL" clId="{06E8612E-1905-4FD3-903D-3F804CCFF889}" dt="2023-04-17T20:36:46.839" v="10375" actId="164"/>
          <ac:grpSpMkLst>
            <pc:docMk/>
            <pc:sldMk cId="1035236254" sldId="2147470693"/>
            <ac:grpSpMk id="17" creationId="{BD87DCBC-CE1E-6CB9-BE32-5AEB4625FD6F}"/>
          </ac:grpSpMkLst>
        </pc:grpChg>
        <pc:grpChg chg="add mod ord topLvl">
          <ac:chgData name="Ziegler, Moritz" userId="64963377-0688-41ce-81de-c3adb053cc9f" providerId="ADAL" clId="{06E8612E-1905-4FD3-903D-3F804CCFF889}" dt="2023-04-17T20:47:11.659" v="10762"/>
          <ac:grpSpMkLst>
            <pc:docMk/>
            <pc:sldMk cId="1035236254" sldId="2147470693"/>
            <ac:grpSpMk id="18" creationId="{3D2B87FF-ED3B-EB4B-F875-83A2AF34ACEB}"/>
          </ac:grpSpMkLst>
        </pc:grpChg>
        <pc:grpChg chg="add del mod topLvl">
          <ac:chgData name="Ziegler, Moritz" userId="64963377-0688-41ce-81de-c3adb053cc9f" providerId="ADAL" clId="{06E8612E-1905-4FD3-903D-3F804CCFF889}" dt="2023-04-17T20:42:09.123" v="10576" actId="165"/>
          <ac:grpSpMkLst>
            <pc:docMk/>
            <pc:sldMk cId="1035236254" sldId="2147470693"/>
            <ac:grpSpMk id="19" creationId="{9F1555CA-19B0-BC21-4792-1551231619C5}"/>
          </ac:grpSpMkLst>
        </pc:grpChg>
        <pc:grpChg chg="add del mod">
          <ac:chgData name="Ziegler, Moritz" userId="64963377-0688-41ce-81de-c3adb053cc9f" providerId="ADAL" clId="{06E8612E-1905-4FD3-903D-3F804CCFF889}" dt="2023-04-17T20:37:10.185" v="10381" actId="165"/>
          <ac:grpSpMkLst>
            <pc:docMk/>
            <pc:sldMk cId="1035236254" sldId="2147470693"/>
            <ac:grpSpMk id="20" creationId="{027E58FC-17F0-DAA4-F22A-77DF3215FD5D}"/>
          </ac:grpSpMkLst>
        </pc:grpChg>
        <pc:grpChg chg="add del mod ord">
          <ac:chgData name="Ziegler, Moritz" userId="64963377-0688-41ce-81de-c3adb053cc9f" providerId="ADAL" clId="{06E8612E-1905-4FD3-903D-3F804CCFF889}" dt="2023-04-17T20:47:34.701" v="10800" actId="478"/>
          <ac:grpSpMkLst>
            <pc:docMk/>
            <pc:sldMk cId="1035236254" sldId="2147470693"/>
            <ac:grpSpMk id="31" creationId="{F5443C23-FBD3-C3AB-E002-8B0947C64C28}"/>
          </ac:grpSpMkLst>
        </pc:grpChg>
        <pc:graphicFrameChg chg="mod">
          <ac:chgData name="Ziegler, Moritz" userId="64963377-0688-41ce-81de-c3adb053cc9f" providerId="ADAL" clId="{06E8612E-1905-4FD3-903D-3F804CCFF889}" dt="2023-04-17T20:47:11.667" v="10790"/>
          <ac:graphicFrameMkLst>
            <pc:docMk/>
            <pc:sldMk cId="1035236254" sldId="2147470693"/>
            <ac:graphicFrameMk id="7" creationId="{9B982325-51BE-E493-3F72-29B4960F1E6F}"/>
          </ac:graphicFrameMkLst>
        </pc:graphicFrameChg>
        <pc:cxnChg chg="add mod">
          <ac:chgData name="Ziegler, Moritz" userId="64963377-0688-41ce-81de-c3adb053cc9f" providerId="ADAL" clId="{06E8612E-1905-4FD3-903D-3F804CCFF889}" dt="2023-04-17T20:42:36.138" v="10585"/>
          <ac:cxnSpMkLst>
            <pc:docMk/>
            <pc:sldMk cId="1035236254" sldId="2147470693"/>
            <ac:cxnSpMk id="22" creationId="{EFDC889D-B9B7-BD87-4582-C06FA3EFE93B}"/>
          </ac:cxnSpMkLst>
        </pc:cxnChg>
        <pc:cxnChg chg="add del mod ord">
          <ac:chgData name="Ziegler, Moritz" userId="64963377-0688-41ce-81de-c3adb053cc9f" providerId="ADAL" clId="{06E8612E-1905-4FD3-903D-3F804CCFF889}" dt="2023-04-17T20:47:34.701" v="10800" actId="478"/>
          <ac:cxnSpMkLst>
            <pc:docMk/>
            <pc:sldMk cId="1035236254" sldId="2147470693"/>
            <ac:cxnSpMk id="26" creationId="{B5708B12-6F70-6102-8F04-D3E5CE1165D5}"/>
          </ac:cxnSpMkLst>
        </pc:cxnChg>
        <pc:cxnChg chg="add del mod">
          <ac:chgData name="Ziegler, Moritz" userId="64963377-0688-41ce-81de-c3adb053cc9f" providerId="ADAL" clId="{06E8612E-1905-4FD3-903D-3F804CCFF889}" dt="2023-04-17T20:42:42.431" v="10587" actId="478"/>
          <ac:cxnSpMkLst>
            <pc:docMk/>
            <pc:sldMk cId="1035236254" sldId="2147470693"/>
            <ac:cxnSpMk id="30" creationId="{FCF098C4-006C-A2C2-19A8-A6BEF157A3C0}"/>
          </ac:cxnSpMkLst>
        </pc:cxnChg>
        <pc:cxnChg chg="add mod ord">
          <ac:chgData name="Ziegler, Moritz" userId="64963377-0688-41ce-81de-c3adb053cc9f" providerId="ADAL" clId="{06E8612E-1905-4FD3-903D-3F804CCFF889}" dt="2023-04-17T20:47:11.661" v="10770"/>
          <ac:cxnSpMkLst>
            <pc:docMk/>
            <pc:sldMk cId="1035236254" sldId="2147470693"/>
            <ac:cxnSpMk id="34" creationId="{72E6964B-376A-7A85-486F-BB4D99DD5A85}"/>
          </ac:cxnSpMkLst>
        </pc:cxnChg>
        <pc:cxnChg chg="add del mod">
          <ac:chgData name="Ziegler, Moritz" userId="64963377-0688-41ce-81de-c3adb053cc9f" providerId="ADAL" clId="{06E8612E-1905-4FD3-903D-3F804CCFF889}" dt="2023-04-17T20:43:19.518" v="10597" actId="478"/>
          <ac:cxnSpMkLst>
            <pc:docMk/>
            <pc:sldMk cId="1035236254" sldId="2147470693"/>
            <ac:cxnSpMk id="37" creationId="{A3309D10-757C-1BF4-3F8C-C5AC148BA392}"/>
          </ac:cxnSpMkLst>
        </pc:cxnChg>
        <pc:cxnChg chg="add mod ord">
          <ac:chgData name="Ziegler, Moritz" userId="64963377-0688-41ce-81de-c3adb053cc9f" providerId="ADAL" clId="{06E8612E-1905-4FD3-903D-3F804CCFF889}" dt="2023-04-17T20:47:11.662" v="10772"/>
          <ac:cxnSpMkLst>
            <pc:docMk/>
            <pc:sldMk cId="1035236254" sldId="2147470693"/>
            <ac:cxnSpMk id="39" creationId="{8DB953EA-0DB5-4416-B2FD-7CFB1EE3A879}"/>
          </ac:cxnSpMkLst>
        </pc:cxnChg>
        <pc:cxnChg chg="add mod ord">
          <ac:chgData name="Ziegler, Moritz" userId="64963377-0688-41ce-81de-c3adb053cc9f" providerId="ADAL" clId="{06E8612E-1905-4FD3-903D-3F804CCFF889}" dt="2023-04-17T20:47:11.664" v="10780"/>
          <ac:cxnSpMkLst>
            <pc:docMk/>
            <pc:sldMk cId="1035236254" sldId="2147470693"/>
            <ac:cxnSpMk id="45" creationId="{C1F64DA4-66EC-2DE4-896F-A9B830EE756A}"/>
          </ac:cxnSpMkLst>
        </pc:cxnChg>
        <pc:cxnChg chg="add del mod">
          <ac:chgData name="Ziegler, Moritz" userId="64963377-0688-41ce-81de-c3adb053cc9f" providerId="ADAL" clId="{06E8612E-1905-4FD3-903D-3F804CCFF889}" dt="2023-04-17T20:45:41.888" v="10721" actId="478"/>
          <ac:cxnSpMkLst>
            <pc:docMk/>
            <pc:sldMk cId="1035236254" sldId="2147470693"/>
            <ac:cxnSpMk id="46" creationId="{261521F0-8B7B-9EDB-9417-4C3E660652F4}"/>
          </ac:cxnSpMkLst>
        </pc:cxnChg>
        <pc:cxnChg chg="add mod ord">
          <ac:chgData name="Ziegler, Moritz" userId="64963377-0688-41ce-81de-c3adb053cc9f" providerId="ADAL" clId="{06E8612E-1905-4FD3-903D-3F804CCFF889}" dt="2023-04-17T20:47:11.664" v="10782"/>
          <ac:cxnSpMkLst>
            <pc:docMk/>
            <pc:sldMk cId="1035236254" sldId="2147470693"/>
            <ac:cxnSpMk id="47" creationId="{7CBE0DF5-A263-383B-7843-3B74BE9629F8}"/>
          </ac:cxnSpMkLst>
        </pc:cxnChg>
        <pc:cxnChg chg="add mod ord">
          <ac:chgData name="Ziegler, Moritz" userId="64963377-0688-41ce-81de-c3adb053cc9f" providerId="ADAL" clId="{06E8612E-1905-4FD3-903D-3F804CCFF889}" dt="2023-04-17T20:47:42.294" v="10801" actId="14100"/>
          <ac:cxnSpMkLst>
            <pc:docMk/>
            <pc:sldMk cId="1035236254" sldId="2147470693"/>
            <ac:cxnSpMk id="50" creationId="{D8EF9423-F893-7C89-7196-C6D05D4B1247}"/>
          </ac:cxnSpMkLst>
        </pc:cxnChg>
        <pc:cxnChg chg="add mod">
          <ac:chgData name="Ziegler, Moritz" userId="64963377-0688-41ce-81de-c3adb053cc9f" providerId="ADAL" clId="{06E8612E-1905-4FD3-903D-3F804CCFF889}" dt="2023-04-17T20:47:50.318" v="10804" actId="14100"/>
          <ac:cxnSpMkLst>
            <pc:docMk/>
            <pc:sldMk cId="1035236254" sldId="2147470693"/>
            <ac:cxnSpMk id="55" creationId="{C57354CA-F1EA-9E59-EBEA-1FB02656D885}"/>
          </ac:cxnSpMkLst>
        </pc:cxnChg>
      </pc:sldChg>
      <pc:sldChg chg="addSp delSp modSp new add mod">
        <pc:chgData name="Ziegler, Moritz" userId="64963377-0688-41ce-81de-c3adb053cc9f" providerId="ADAL" clId="{06E8612E-1905-4FD3-903D-3F804CCFF889}" dt="2023-04-17T21:31:41.769" v="12753" actId="207"/>
        <pc:sldMkLst>
          <pc:docMk/>
          <pc:sldMk cId="1454953672" sldId="2147470694"/>
        </pc:sldMkLst>
        <pc:spChg chg="mod ord">
          <ac:chgData name="Ziegler, Moritz" userId="64963377-0688-41ce-81de-c3adb053cc9f" providerId="ADAL" clId="{06E8612E-1905-4FD3-903D-3F804CCFF889}" dt="2023-04-17T21:23:11.180" v="12531"/>
          <ac:spMkLst>
            <pc:docMk/>
            <pc:sldMk cId="1454953672" sldId="2147470694"/>
            <ac:spMk id="2" creationId="{E21F7E2E-8FAF-A050-1197-A441000A4E38}"/>
          </ac:spMkLst>
        </pc:spChg>
        <pc:spChg chg="del mod ord">
          <ac:chgData name="Ziegler, Moritz" userId="64963377-0688-41ce-81de-c3adb053cc9f" providerId="ADAL" clId="{06E8612E-1905-4FD3-903D-3F804CCFF889}" dt="2023-04-17T21:27:36.599" v="12752" actId="478"/>
          <ac:spMkLst>
            <pc:docMk/>
            <pc:sldMk cId="1454953672" sldId="2147470694"/>
            <ac:spMk id="3" creationId="{F764EAD0-5545-D936-F1C8-DBF1C0B467C2}"/>
          </ac:spMkLst>
        </pc:spChg>
        <pc:spChg chg="add mod ord topLvl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4" creationId="{9252BFBA-9E2D-839E-B0C3-E4E9D3B4332C}"/>
          </ac:spMkLst>
        </pc:spChg>
        <pc:spChg chg="add mod or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10" creationId="{8DE7A957-1434-0811-D2A2-CF368345415E}"/>
          </ac:spMkLst>
        </pc:spChg>
        <pc:spChg chg="mo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13" creationId="{413AB1E3-7944-5291-C2D0-867C78AC12EE}"/>
          </ac:spMkLst>
        </pc:spChg>
        <pc:spChg chg="mo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16" creationId="{8C3D28D6-AAD9-DEA1-7698-6F0043BAEAC8}"/>
          </ac:spMkLst>
        </pc:spChg>
        <pc:spChg chg="mod">
          <ac:chgData name="Ziegler, Moritz" userId="64963377-0688-41ce-81de-c3adb053cc9f" providerId="ADAL" clId="{06E8612E-1905-4FD3-903D-3F804CCFF889}" dt="2023-04-17T21:27:32.437" v="12751" actId="20577"/>
          <ac:spMkLst>
            <pc:docMk/>
            <pc:sldMk cId="1454953672" sldId="2147470694"/>
            <ac:spMk id="19" creationId="{ECFB9E12-5B5D-3E12-0621-5EE7431F60F2}"/>
          </ac:spMkLst>
        </pc:spChg>
        <pc:spChg chg="mod">
          <ac:chgData name="Ziegler, Moritz" userId="64963377-0688-41ce-81de-c3adb053cc9f" providerId="ADAL" clId="{06E8612E-1905-4FD3-903D-3F804CCFF889}" dt="2023-04-17T20:57:03.296" v="11014"/>
          <ac:spMkLst>
            <pc:docMk/>
            <pc:sldMk cId="1454953672" sldId="2147470694"/>
            <ac:spMk id="22" creationId="{00781DA0-A86D-307B-A195-2A71E9BCE46A}"/>
          </ac:spMkLst>
        </pc:spChg>
        <pc:spChg chg="mo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25" creationId="{8D094A34-766E-C095-C87A-EE0053918145}"/>
          </ac:spMkLst>
        </pc:spChg>
        <pc:spChg chg="mod">
          <ac:chgData name="Ziegler, Moritz" userId="64963377-0688-41ce-81de-c3adb053cc9f" providerId="ADAL" clId="{06E8612E-1905-4FD3-903D-3F804CCFF889}" dt="2023-04-17T20:57:26.164" v="11023"/>
          <ac:spMkLst>
            <pc:docMk/>
            <pc:sldMk cId="1454953672" sldId="2147470694"/>
            <ac:spMk id="28" creationId="{B8650EA8-A93E-2FF4-F593-B8F1691DBAD7}"/>
          </ac:spMkLst>
        </pc:spChg>
        <pc:spChg chg="mo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31" creationId="{809C4AD1-E827-8B51-605B-46F30865ABF4}"/>
          </ac:spMkLst>
        </pc:spChg>
        <pc:spChg chg="mo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34" creationId="{575A97B8-09A7-5DE6-BD21-7684E24B8456}"/>
          </ac:spMkLst>
        </pc:spChg>
        <pc:spChg chg="mo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37" creationId="{6DA7E48D-1CCA-4A05-C639-7EE8CB86C538}"/>
          </ac:spMkLst>
        </pc:spChg>
        <pc:spChg chg="mod ord topLvl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40" creationId="{1C9239B6-5D70-D62B-248B-385617FDE510}"/>
          </ac:spMkLst>
        </pc:spChg>
        <pc:spChg chg="add del mod">
          <ac:chgData name="Ziegler, Moritz" userId="64963377-0688-41ce-81de-c3adb053cc9f" providerId="ADAL" clId="{06E8612E-1905-4FD3-903D-3F804CCFF889}" dt="2023-04-17T21:02:08.584" v="11159" actId="478"/>
          <ac:spMkLst>
            <pc:docMk/>
            <pc:sldMk cId="1454953672" sldId="2147470694"/>
            <ac:spMk id="45" creationId="{7CDE9CC3-29DA-ED68-D38F-172A5119DA94}"/>
          </ac:spMkLst>
        </pc:spChg>
        <pc:spChg chg="add del mod">
          <ac:chgData name="Ziegler, Moritz" userId="64963377-0688-41ce-81de-c3adb053cc9f" providerId="ADAL" clId="{06E8612E-1905-4FD3-903D-3F804CCFF889}" dt="2023-04-17T21:02:31.088" v="11168" actId="478"/>
          <ac:spMkLst>
            <pc:docMk/>
            <pc:sldMk cId="1454953672" sldId="2147470694"/>
            <ac:spMk id="46" creationId="{04052FCE-CB78-CDA7-A4CB-A4786E10C073}"/>
          </ac:spMkLst>
        </pc:spChg>
        <pc:spChg chg="add del mod ord topLvl">
          <ac:chgData name="Ziegler, Moritz" userId="64963377-0688-41ce-81de-c3adb053cc9f" providerId="ADAL" clId="{06E8612E-1905-4FD3-903D-3F804CCFF889}" dt="2023-04-17T21:15:06.869" v="11985" actId="478"/>
          <ac:spMkLst>
            <pc:docMk/>
            <pc:sldMk cId="1454953672" sldId="2147470694"/>
            <ac:spMk id="47" creationId="{8C39F1FF-9D2C-BE75-08CD-FBC77F783EA5}"/>
          </ac:spMkLst>
        </pc:spChg>
        <pc:spChg chg="add mod ord">
          <ac:chgData name="Ziegler, Moritz" userId="64963377-0688-41ce-81de-c3adb053cc9f" providerId="ADAL" clId="{06E8612E-1905-4FD3-903D-3F804CCFF889}" dt="2023-04-17T21:03:37.136" v="11269" actId="164"/>
          <ac:spMkLst>
            <pc:docMk/>
            <pc:sldMk cId="1454953672" sldId="2147470694"/>
            <ac:spMk id="48" creationId="{7FE03BAE-E21A-C28C-3C8D-3AB0043C5E17}"/>
          </ac:spMkLst>
        </pc:spChg>
        <pc:spChg chg="add del mod modVis">
          <ac:chgData name="Ziegler, Moritz" userId="64963377-0688-41ce-81de-c3adb053cc9f" providerId="ADAL" clId="{06E8612E-1905-4FD3-903D-3F804CCFF889}" dt="2023-04-17T21:03:51.422" v="11355"/>
          <ac:spMkLst>
            <pc:docMk/>
            <pc:sldMk cId="1454953672" sldId="2147470694"/>
            <ac:spMk id="51" creationId="{263D55A9-6136-A448-F825-0AE7429FF790}"/>
          </ac:spMkLst>
        </pc:spChg>
        <pc:spChg chg="add del mod modVis">
          <ac:chgData name="Ziegler, Moritz" userId="64963377-0688-41ce-81de-c3adb053cc9f" providerId="ADAL" clId="{06E8612E-1905-4FD3-903D-3F804CCFF889}" dt="2023-04-17T21:03:55.318" v="11425"/>
          <ac:spMkLst>
            <pc:docMk/>
            <pc:sldMk cId="1454953672" sldId="2147470694"/>
            <ac:spMk id="52" creationId="{33D3F2E8-201F-4A61-4E51-F911B53E21E3}"/>
          </ac:spMkLst>
        </pc:spChg>
        <pc:spChg chg="add del mod modVis">
          <ac:chgData name="Ziegler, Moritz" userId="64963377-0688-41ce-81de-c3adb053cc9f" providerId="ADAL" clId="{06E8612E-1905-4FD3-903D-3F804CCFF889}" dt="2023-04-17T21:03:57.904" v="11478"/>
          <ac:spMkLst>
            <pc:docMk/>
            <pc:sldMk cId="1454953672" sldId="2147470694"/>
            <ac:spMk id="53" creationId="{D3E2DE28-1D32-0A13-86B6-140851172FDD}"/>
          </ac:spMkLst>
        </pc:spChg>
        <pc:spChg chg="add mod ord">
          <ac:chgData name="Ziegler, Moritz" userId="64963377-0688-41ce-81de-c3adb053cc9f" providerId="ADAL" clId="{06E8612E-1905-4FD3-903D-3F804CCFF889}" dt="2023-04-17T21:31:41.769" v="12753" actId="207"/>
          <ac:spMkLst>
            <pc:docMk/>
            <pc:sldMk cId="1454953672" sldId="2147470694"/>
            <ac:spMk id="77" creationId="{FC076C62-A4ED-B46C-6E8C-FF0497361FCB}"/>
          </ac:spMkLst>
        </pc:spChg>
        <pc:spChg chg="mod topLvl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79" creationId="{79E8FB49-5CA0-A6AB-51E5-717DAB43693E}"/>
          </ac:spMkLst>
        </pc:spChg>
        <pc:spChg chg="add del mod">
          <ac:chgData name="Ziegler, Moritz" userId="64963377-0688-41ce-81de-c3adb053cc9f" providerId="ADAL" clId="{06E8612E-1905-4FD3-903D-3F804CCFF889}" dt="2023-04-17T21:15:11.429" v="11987" actId="478"/>
          <ac:spMkLst>
            <pc:docMk/>
            <pc:sldMk cId="1454953672" sldId="2147470694"/>
            <ac:spMk id="81" creationId="{FC888A1A-E8F4-79B7-95C8-9D36D5D577C8}"/>
          </ac:spMkLst>
        </pc:spChg>
        <pc:spChg chg="mo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84" creationId="{65A62A40-4DB1-B4B7-9C10-77C21F21538F}"/>
          </ac:spMkLst>
        </pc:spChg>
        <pc:spChg chg="mod">
          <ac:chgData name="Ziegler, Moritz" userId="64963377-0688-41ce-81de-c3adb053cc9f" providerId="ADAL" clId="{06E8612E-1905-4FD3-903D-3F804CCFF889}" dt="2023-04-17T21:23:45.610" v="12614"/>
          <ac:spMkLst>
            <pc:docMk/>
            <pc:sldMk cId="1454953672" sldId="2147470694"/>
            <ac:spMk id="91" creationId="{FAEA7162-B3CC-4B7A-5A1B-5BAECCA2421C}"/>
          </ac:spMkLst>
        </pc:spChg>
        <pc:spChg chg="add del mod modVis">
          <ac:chgData name="Ziegler, Moritz" userId="64963377-0688-41ce-81de-c3adb053cc9f" providerId="ADAL" clId="{06E8612E-1905-4FD3-903D-3F804CCFF889}" dt="2023-04-17T21:22:12.669" v="12507"/>
          <ac:spMkLst>
            <pc:docMk/>
            <pc:sldMk cId="1454953672" sldId="2147470694"/>
            <ac:spMk id="98" creationId="{C2161777-C73F-EDF5-A39D-77826ED92A7D}"/>
          </ac:spMkLst>
        </pc:spChg>
        <pc:spChg chg="add del">
          <ac:chgData name="Ziegler, Moritz" userId="64963377-0688-41ce-81de-c3adb053cc9f" providerId="ADAL" clId="{06E8612E-1905-4FD3-903D-3F804CCFF889}" dt="2023-04-17T21:25:39.519" v="12678" actId="22"/>
          <ac:spMkLst>
            <pc:docMk/>
            <pc:sldMk cId="1454953672" sldId="2147470694"/>
            <ac:spMk id="120" creationId="{79C4AFA1-1F3D-3F8D-9B00-6AD0FC010492}"/>
          </ac:spMkLst>
        </pc:spChg>
        <pc:spChg chg="add mod">
          <ac:chgData name="Ziegler, Moritz" userId="64963377-0688-41ce-81de-c3adb053cc9f" providerId="ADAL" clId="{06E8612E-1905-4FD3-903D-3F804CCFF889}" dt="2023-04-17T21:31:41.769" v="12753" actId="207"/>
          <ac:spMkLst>
            <pc:docMk/>
            <pc:sldMk cId="1454953672" sldId="2147470694"/>
            <ac:spMk id="122" creationId="{DD945125-8ABE-9F9D-1786-CE2076956147}"/>
          </ac:spMkLst>
        </pc:spChg>
        <pc:grpChg chg="add mod or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11" creationId="{E7D4C800-0047-8774-727D-08B65671A816}"/>
          </ac:grpSpMkLst>
        </pc:grpChg>
        <pc:grpChg chg="add mod or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12" creationId="{BD4F87B1-60A9-E56A-94AA-505795DD519D}"/>
          </ac:grpSpMkLst>
        </pc:grpChg>
        <pc:grpChg chg="add mod or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15" creationId="{2DA81BB7-BDF5-6657-875C-29BE08CA6FB8}"/>
          </ac:grpSpMkLst>
        </pc:grpChg>
        <pc:grpChg chg="add mod or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18" creationId="{19D7A9B3-A773-29CF-4473-C761695F28AF}"/>
          </ac:grpSpMkLst>
        </pc:grpChg>
        <pc:grpChg chg="add del mod">
          <ac:chgData name="Ziegler, Moritz" userId="64963377-0688-41ce-81de-c3adb053cc9f" providerId="ADAL" clId="{06E8612E-1905-4FD3-903D-3F804CCFF889}" dt="2023-04-17T20:57:08.088" v="11016" actId="478"/>
          <ac:grpSpMkLst>
            <pc:docMk/>
            <pc:sldMk cId="1454953672" sldId="2147470694"/>
            <ac:grpSpMk id="21" creationId="{31AB2EC3-C47D-3F4D-5FBC-958266DA0FB1}"/>
          </ac:grpSpMkLst>
        </pc:grpChg>
        <pc:grpChg chg="add mod or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24" creationId="{A17C52FB-3503-6EC0-FD60-E5AA3CB57936}"/>
          </ac:grpSpMkLst>
        </pc:grpChg>
        <pc:grpChg chg="add del mod">
          <ac:chgData name="Ziegler, Moritz" userId="64963377-0688-41ce-81de-c3adb053cc9f" providerId="ADAL" clId="{06E8612E-1905-4FD3-903D-3F804CCFF889}" dt="2023-04-17T20:57:27.331" v="11024" actId="478"/>
          <ac:grpSpMkLst>
            <pc:docMk/>
            <pc:sldMk cId="1454953672" sldId="2147470694"/>
            <ac:grpSpMk id="27" creationId="{F2FF1A56-B95B-D25C-9BD1-90828EF8DC35}"/>
          </ac:grpSpMkLst>
        </pc:grpChg>
        <pc:grpChg chg="add mod or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30" creationId="{5535BEB6-9910-9BD1-EB69-2A4868091913}"/>
          </ac:grpSpMkLst>
        </pc:grpChg>
        <pc:grpChg chg="add del mod or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33" creationId="{3108D81C-652B-08F3-DA01-DB72E50B18C5}"/>
          </ac:grpSpMkLst>
        </pc:grpChg>
        <pc:grpChg chg="add mod or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36" creationId="{27E6C9D0-9833-2F87-46BD-D4C5EC8180B7}"/>
          </ac:grpSpMkLst>
        </pc:grpChg>
        <pc:grpChg chg="add del mod">
          <ac:chgData name="Ziegler, Moritz" userId="64963377-0688-41ce-81de-c3adb053cc9f" providerId="ADAL" clId="{06E8612E-1905-4FD3-903D-3F804CCFF889}" dt="2023-04-17T20:59:12.312" v="11103" actId="165"/>
          <ac:grpSpMkLst>
            <pc:docMk/>
            <pc:sldMk cId="1454953672" sldId="2147470694"/>
            <ac:grpSpMk id="39" creationId="{10F9AD0A-5E1A-B1D9-B304-40603E279A82}"/>
          </ac:grpSpMkLst>
        </pc:grpChg>
        <pc:grpChg chg="add del mod">
          <ac:chgData name="Ziegler, Moritz" userId="64963377-0688-41ce-81de-c3adb053cc9f" providerId="ADAL" clId="{06E8612E-1905-4FD3-903D-3F804CCFF889}" dt="2023-04-17T21:14:51.154" v="11901" actId="165"/>
          <ac:grpSpMkLst>
            <pc:docMk/>
            <pc:sldMk cId="1454953672" sldId="2147470694"/>
            <ac:grpSpMk id="49" creationId="{12F83CDB-9415-8AC9-FC5D-912B161B29CD}"/>
          </ac:grpSpMkLst>
        </pc:grpChg>
        <pc:grpChg chg="add del mod">
          <ac:chgData name="Ziegler, Moritz" userId="64963377-0688-41ce-81de-c3adb053cc9f" providerId="ADAL" clId="{06E8612E-1905-4FD3-903D-3F804CCFF889}" dt="2023-04-17T21:15:34.484" v="11996" actId="478"/>
          <ac:grpSpMkLst>
            <pc:docMk/>
            <pc:sldMk cId="1454953672" sldId="2147470694"/>
            <ac:grpSpMk id="50" creationId="{CDB22A6A-54B3-FFE0-0B55-5610C3348E44}"/>
          </ac:grpSpMkLst>
        </pc:grpChg>
        <pc:grpChg chg="add del mod">
          <ac:chgData name="Ziegler, Moritz" userId="64963377-0688-41ce-81de-c3adb053cc9f" providerId="ADAL" clId="{06E8612E-1905-4FD3-903D-3F804CCFF889}" dt="2023-04-17T21:10:34.098" v="11893" actId="165"/>
          <ac:grpSpMkLst>
            <pc:docMk/>
            <pc:sldMk cId="1454953672" sldId="2147470694"/>
            <ac:grpSpMk id="54" creationId="{24E4137E-6CD1-DC16-0E08-F633EC12D2B1}"/>
          </ac:grpSpMkLst>
        </pc:grpChg>
        <pc:grpChg chg="add del mod">
          <ac:chgData name="Ziegler, Moritz" userId="64963377-0688-41ce-81de-c3adb053cc9f" providerId="ADAL" clId="{06E8612E-1905-4FD3-903D-3F804CCFF889}" dt="2023-04-17T21:14:56.369" v="11902" actId="165"/>
          <ac:grpSpMkLst>
            <pc:docMk/>
            <pc:sldMk cId="1454953672" sldId="2147470694"/>
            <ac:grpSpMk id="78" creationId="{B27A6C2B-9DEF-AC00-3D29-ECCBE5A7B355}"/>
          </ac:grpSpMkLst>
        </pc:grpChg>
        <pc:grpChg chg="add mo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82" creationId="{6562E1A0-AE75-DBF7-B032-1DE2DC684936}"/>
          </ac:grpSpMkLst>
        </pc:grpChg>
        <pc:grpChg chg="add mod topLvl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83" creationId="{E1505EB2-9796-96AE-3FC0-33D623CBCF29}"/>
          </ac:grpSpMkLst>
        </pc:grpChg>
        <pc:grpChg chg="add del mod topLvl">
          <ac:chgData name="Ziegler, Moritz" userId="64963377-0688-41ce-81de-c3adb053cc9f" providerId="ADAL" clId="{06E8612E-1905-4FD3-903D-3F804CCFF889}" dt="2023-04-17T21:16:55.827" v="12268" actId="165"/>
          <ac:grpSpMkLst>
            <pc:docMk/>
            <pc:sldMk cId="1454953672" sldId="2147470694"/>
            <ac:grpSpMk id="86" creationId="{FAE645DF-E2BF-D615-493D-A04E533D0440}"/>
          </ac:grpSpMkLst>
        </pc:grpChg>
        <pc:grpChg chg="add del mod">
          <ac:chgData name="Ziegler, Moritz" userId="64963377-0688-41ce-81de-c3adb053cc9f" providerId="ADAL" clId="{06E8612E-1905-4FD3-903D-3F804CCFF889}" dt="2023-04-17T21:16:41.166" v="12262" actId="165"/>
          <ac:grpSpMkLst>
            <pc:docMk/>
            <pc:sldMk cId="1454953672" sldId="2147470694"/>
            <ac:grpSpMk id="87" creationId="{1F86F59E-F4D1-02FA-2277-4C3E78ECC742}"/>
          </ac:grpSpMkLst>
        </pc:grpChg>
        <pc:grpChg chg="add mod">
          <ac:chgData name="Ziegler, Moritz" userId="64963377-0688-41ce-81de-c3adb053cc9f" providerId="ADAL" clId="{06E8612E-1905-4FD3-903D-3F804CCFF889}" dt="2023-04-17T21:16:51.520" v="12267" actId="338"/>
          <ac:grpSpMkLst>
            <pc:docMk/>
            <pc:sldMk cId="1454953672" sldId="2147470694"/>
            <ac:grpSpMk id="88" creationId="{5809CCBA-14CE-10E4-7BFF-5A5AF2C591A8}"/>
          </ac:grpSpMkLst>
        </pc:grpChg>
        <pc:grpChg chg="add mod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89" creationId="{3396D832-55A6-36E8-DAFF-CED831CE77D2}"/>
          </ac:grpSpMkLst>
        </pc:grpChg>
        <pc:grpChg chg="add mod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90" creationId="{9C702B20-DBB3-DF69-0B55-63BF6DB1BDEF}"/>
          </ac:grpSpMkLst>
        </pc:grpChg>
        <pc:grpChg chg="add mod ord">
          <ac:chgData name="Ziegler, Moritz" userId="64963377-0688-41ce-81de-c3adb053cc9f" providerId="ADAL" clId="{06E8612E-1905-4FD3-903D-3F804CCFF889}" dt="2023-04-17T21:23:45.610" v="12614"/>
          <ac:grpSpMkLst>
            <pc:docMk/>
            <pc:sldMk cId="1454953672" sldId="2147470694"/>
            <ac:grpSpMk id="93" creationId="{7AC3CC74-81EA-FE2F-7F30-7CB795427634}"/>
          </ac:grpSpMkLst>
        </pc:grpChg>
        <pc:grpChg chg="add mod">
          <ac:chgData name="Ziegler, Moritz" userId="64963377-0688-41ce-81de-c3adb053cc9f" providerId="ADAL" clId="{06E8612E-1905-4FD3-903D-3F804CCFF889}" dt="2023-04-17T21:24:00.611" v="12619" actId="1076"/>
          <ac:grpSpMkLst>
            <pc:docMk/>
            <pc:sldMk cId="1454953672" sldId="2147470694"/>
            <ac:grpSpMk id="118" creationId="{4803F723-B32B-08E0-20D1-0C22844291ED}"/>
          </ac:grpSpMkLst>
        </pc:grpChg>
        <pc:graphicFrameChg chg="add mod ord modVis replST">
          <ac:chgData name="Ziegler, Moritz" userId="64963377-0688-41ce-81de-c3adb053cc9f" providerId="ADAL" clId="{06E8612E-1905-4FD3-903D-3F804CCFF889}" dt="2023-04-17T21:23:11.187" v="12555"/>
          <ac:graphicFrameMkLst>
            <pc:docMk/>
            <pc:sldMk cId="1454953672" sldId="2147470694"/>
            <ac:graphicFrameMk id="9" creationId="{E96A022C-C4A9-0BF3-1D4F-A16EED220AC9}"/>
          </ac:graphicFrameMkLst>
        </pc:graphicFrameChg>
        <pc:picChg chg="add mod or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6" creationId="{0E354A4A-1AAC-4A0D-9A83-BE9999EF8698}"/>
          </ac:picMkLst>
        </pc:picChg>
        <pc:picChg chg="add mod ord topLvl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8" creationId="{BABEA4E5-587F-9C3C-B092-F46B88A26C8B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14" creationId="{6DD4812C-2E9D-2D7D-BD5E-0CC32265E39C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17" creationId="{7AA2C6AC-8169-80BE-46BD-A727F144224F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20" creationId="{B27E4769-4096-763D-ADBA-010498D72CE6}"/>
          </ac:picMkLst>
        </pc:picChg>
        <pc:picChg chg="mod">
          <ac:chgData name="Ziegler, Moritz" userId="64963377-0688-41ce-81de-c3adb053cc9f" providerId="ADAL" clId="{06E8612E-1905-4FD3-903D-3F804CCFF889}" dt="2023-04-17T20:57:03.296" v="11014"/>
          <ac:picMkLst>
            <pc:docMk/>
            <pc:sldMk cId="1454953672" sldId="2147470694"/>
            <ac:picMk id="23" creationId="{AF51FECA-0AA4-C445-413C-2860C1CE860A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26" creationId="{6381F17B-924D-66DA-8861-1209C779F9ED}"/>
          </ac:picMkLst>
        </pc:picChg>
        <pc:picChg chg="mod">
          <ac:chgData name="Ziegler, Moritz" userId="64963377-0688-41ce-81de-c3adb053cc9f" providerId="ADAL" clId="{06E8612E-1905-4FD3-903D-3F804CCFF889}" dt="2023-04-17T20:57:26.164" v="11023"/>
          <ac:picMkLst>
            <pc:docMk/>
            <pc:sldMk cId="1454953672" sldId="2147470694"/>
            <ac:picMk id="29" creationId="{A4A115A6-BB4C-A98F-57FE-7B619F29EF1F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32" creationId="{30A8F32B-11CC-18F6-CEA7-5BFA5F6662BE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35" creationId="{9C554CED-3BEA-CE58-6FFB-D70DF7461D4E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38" creationId="{44906758-90C7-660B-2AEC-24422ECF8B8D}"/>
          </ac:picMkLst>
        </pc:picChg>
        <pc:picChg chg="mod ord topLvl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41" creationId="{225343EF-4417-A19A-A4BD-C15C06C670AB}"/>
          </ac:picMkLst>
        </pc:picChg>
        <pc:picChg chg="add mod ord">
          <ac:chgData name="Ziegler, Moritz" userId="64963377-0688-41ce-81de-c3adb053cc9f" providerId="ADAL" clId="{06E8612E-1905-4FD3-903D-3F804CCFF889}" dt="2023-04-17T21:03:37.136" v="11269" actId="164"/>
          <ac:picMkLst>
            <pc:docMk/>
            <pc:sldMk cId="1454953672" sldId="2147470694"/>
            <ac:picMk id="42" creationId="{5CC59412-884E-DFAE-D140-F409D1BEBDC1}"/>
          </ac:picMkLst>
        </pc:picChg>
        <pc:picChg chg="add del mod">
          <ac:chgData name="Ziegler, Moritz" userId="64963377-0688-41ce-81de-c3adb053cc9f" providerId="ADAL" clId="{06E8612E-1905-4FD3-903D-3F804CCFF889}" dt="2023-04-17T21:04:45.665" v="11505" actId="478"/>
          <ac:picMkLst>
            <pc:docMk/>
            <pc:sldMk cId="1454953672" sldId="2147470694"/>
            <ac:picMk id="58" creationId="{36F3F4E2-3E11-7FB7-3123-74C2262ECD1F}"/>
          </ac:picMkLst>
        </pc:picChg>
        <pc:picChg chg="add del mod replST">
          <ac:chgData name="Ziegler, Moritz" userId="64963377-0688-41ce-81de-c3adb053cc9f" providerId="ADAL" clId="{06E8612E-1905-4FD3-903D-3F804CCFF889}" dt="2023-04-17T21:15:46.305" v="12015" actId="478"/>
          <ac:picMkLst>
            <pc:docMk/>
            <pc:sldMk cId="1454953672" sldId="2147470694"/>
            <ac:picMk id="59" creationId="{BC123E3C-423C-B711-E122-914EFB7E41D9}"/>
          </ac:picMkLst>
        </pc:picChg>
        <pc:picChg chg="del mod ord topLvl">
          <ac:chgData name="Ziegler, Moritz" userId="64963377-0688-41ce-81de-c3adb053cc9f" providerId="ADAL" clId="{06E8612E-1905-4FD3-903D-3F804CCFF889}" dt="2023-04-17T21:15:06.869" v="11985" actId="478"/>
          <ac:picMkLst>
            <pc:docMk/>
            <pc:sldMk cId="1454953672" sldId="2147470694"/>
            <ac:picMk id="80" creationId="{DBA33165-1AAC-8BBC-BA2B-4F64912FE118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85" creationId="{1FA758AA-5CD8-ACF4-E913-1D2D81DF1EF8}"/>
          </ac:picMkLst>
        </pc:picChg>
        <pc:picChg chg="mod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92" creationId="{495C3417-14C1-84E2-9F52-69EEEE0321C0}"/>
          </ac:picMkLst>
        </pc:picChg>
        <pc:picChg chg="add mod ord replST">
          <ac:chgData name="Ziegler, Moritz" userId="64963377-0688-41ce-81de-c3adb053cc9f" providerId="ADAL" clId="{06E8612E-1905-4FD3-903D-3F804CCFF889}" dt="2023-04-17T21:23:45.610" v="12614"/>
          <ac:picMkLst>
            <pc:docMk/>
            <pc:sldMk cId="1454953672" sldId="2147470694"/>
            <ac:picMk id="94" creationId="{DF0ABD6B-DA4A-AB45-5AF0-BAF013EB6194}"/>
          </ac:picMkLst>
        </pc:picChg>
        <pc:cxnChg chg="add del">
          <ac:chgData name="Ziegler, Moritz" userId="64963377-0688-41ce-81de-c3adb053cc9f" providerId="ADAL" clId="{06E8612E-1905-4FD3-903D-3F804CCFF889}" dt="2023-04-17T21:01:44.619" v="11151" actId="478"/>
          <ac:cxnSpMkLst>
            <pc:docMk/>
            <pc:sldMk cId="1454953672" sldId="2147470694"/>
            <ac:cxnSpMk id="44" creationId="{9165A5BE-CBE6-CCF6-4D25-B48A6FA511EE}"/>
          </ac:cxnSpMkLst>
        </pc:cxnChg>
        <pc:cxnChg chg="add del mod">
          <ac:chgData name="Ziegler, Moritz" userId="64963377-0688-41ce-81de-c3adb053cc9f" providerId="ADAL" clId="{06E8612E-1905-4FD3-903D-3F804CCFF889}" dt="2023-04-17T21:04:59.796" v="11516" actId="478"/>
          <ac:cxnSpMkLst>
            <pc:docMk/>
            <pc:sldMk cId="1454953672" sldId="2147470694"/>
            <ac:cxnSpMk id="56" creationId="{21ED95B7-FEA7-341D-0AC6-158C10F926F2}"/>
          </ac:cxnSpMkLst>
        </pc:cxnChg>
        <pc:cxnChg chg="add del mod">
          <ac:chgData name="Ziegler, Moritz" userId="64963377-0688-41ce-81de-c3adb053cc9f" providerId="ADAL" clId="{06E8612E-1905-4FD3-903D-3F804CCFF889}" dt="2023-04-17T21:15:33.578" v="11995" actId="478"/>
          <ac:cxnSpMkLst>
            <pc:docMk/>
            <pc:sldMk cId="1454953672" sldId="2147470694"/>
            <ac:cxnSpMk id="61" creationId="{B6B2D527-1260-93F1-7F04-9C30B6E6EDA5}"/>
          </ac:cxnSpMkLst>
        </pc:cxnChg>
        <pc:cxnChg chg="add del mod">
          <ac:chgData name="Ziegler, Moritz" userId="64963377-0688-41ce-81de-c3adb053cc9f" providerId="ADAL" clId="{06E8612E-1905-4FD3-903D-3F804CCFF889}" dt="2023-04-17T21:14:46.822" v="11900" actId="478"/>
          <ac:cxnSpMkLst>
            <pc:docMk/>
            <pc:sldMk cId="1454953672" sldId="2147470694"/>
            <ac:cxnSpMk id="62" creationId="{4F7EB7EB-DB76-12ED-8388-2E1CD1795ACA}"/>
          </ac:cxnSpMkLst>
        </pc:cxnChg>
        <pc:cxnChg chg="add del mod">
          <ac:chgData name="Ziegler, Moritz" userId="64963377-0688-41ce-81de-c3adb053cc9f" providerId="ADAL" clId="{06E8612E-1905-4FD3-903D-3F804CCFF889}" dt="2023-04-17T21:10:50.985" v="11895" actId="478"/>
          <ac:cxnSpMkLst>
            <pc:docMk/>
            <pc:sldMk cId="1454953672" sldId="2147470694"/>
            <ac:cxnSpMk id="73" creationId="{FA40BC14-33E0-3ECF-B0ED-B408F558F441}"/>
          </ac:cxnSpMkLst>
        </pc:cxnChg>
        <pc:cxnChg chg="add del mod">
          <ac:chgData name="Ziegler, Moritz" userId="64963377-0688-41ce-81de-c3adb053cc9f" providerId="ADAL" clId="{06E8612E-1905-4FD3-903D-3F804CCFF889}" dt="2023-04-17T21:10:48.889" v="11894" actId="478"/>
          <ac:cxnSpMkLst>
            <pc:docMk/>
            <pc:sldMk cId="1454953672" sldId="2147470694"/>
            <ac:cxnSpMk id="74" creationId="{365D185E-2B8C-2C63-2D2E-1B44116AD4EB}"/>
          </ac:cxnSpMkLst>
        </pc:cxnChg>
        <pc:cxnChg chg="add mod ord">
          <ac:chgData name="Ziegler, Moritz" userId="64963377-0688-41ce-81de-c3adb053cc9f" providerId="ADAL" clId="{06E8612E-1905-4FD3-903D-3F804CCFF889}" dt="2023-04-17T21:23:45.610" v="12614"/>
          <ac:cxnSpMkLst>
            <pc:docMk/>
            <pc:sldMk cId="1454953672" sldId="2147470694"/>
            <ac:cxnSpMk id="96" creationId="{13AE1EFF-9599-3DA1-ADEF-9AE83DDD921B}"/>
          </ac:cxnSpMkLst>
        </pc:cxnChg>
        <pc:cxnChg chg="add mod ord">
          <ac:chgData name="Ziegler, Moritz" userId="64963377-0688-41ce-81de-c3adb053cc9f" providerId="ADAL" clId="{06E8612E-1905-4FD3-903D-3F804CCFF889}" dt="2023-04-17T21:23:45.610" v="12614"/>
          <ac:cxnSpMkLst>
            <pc:docMk/>
            <pc:sldMk cId="1454953672" sldId="2147470694"/>
            <ac:cxnSpMk id="102" creationId="{05746B51-825F-145D-5D8C-CC523794453E}"/>
          </ac:cxnSpMkLst>
        </pc:cxnChg>
        <pc:cxnChg chg="add mod ord">
          <ac:chgData name="Ziegler, Moritz" userId="64963377-0688-41ce-81de-c3adb053cc9f" providerId="ADAL" clId="{06E8612E-1905-4FD3-903D-3F804CCFF889}" dt="2023-04-17T21:23:45.610" v="12614"/>
          <ac:cxnSpMkLst>
            <pc:docMk/>
            <pc:sldMk cId="1454953672" sldId="2147470694"/>
            <ac:cxnSpMk id="105" creationId="{F8B29BDE-BFB5-8D84-82EE-7F1266AE0467}"/>
          </ac:cxnSpMkLst>
        </pc:cxnChg>
        <pc:cxnChg chg="add mod ord">
          <ac:chgData name="Ziegler, Moritz" userId="64963377-0688-41ce-81de-c3adb053cc9f" providerId="ADAL" clId="{06E8612E-1905-4FD3-903D-3F804CCFF889}" dt="2023-04-17T21:23:45.610" v="12614"/>
          <ac:cxnSpMkLst>
            <pc:docMk/>
            <pc:sldMk cId="1454953672" sldId="2147470694"/>
            <ac:cxnSpMk id="109" creationId="{A996BF5B-DEFF-ADFB-7490-6FD2016C7E71}"/>
          </ac:cxnSpMkLst>
        </pc:cxnChg>
        <pc:cxnChg chg="add mod ord">
          <ac:chgData name="Ziegler, Moritz" userId="64963377-0688-41ce-81de-c3adb053cc9f" providerId="ADAL" clId="{06E8612E-1905-4FD3-903D-3F804CCFF889}" dt="2023-04-17T21:23:45.610" v="12614"/>
          <ac:cxnSpMkLst>
            <pc:docMk/>
            <pc:sldMk cId="1454953672" sldId="2147470694"/>
            <ac:cxnSpMk id="112" creationId="{B045CA91-367A-FB87-C362-88B8F24F7F03}"/>
          </ac:cxnSpMkLst>
        </pc:cxnChg>
        <pc:cxnChg chg="add mod ord">
          <ac:chgData name="Ziegler, Moritz" userId="64963377-0688-41ce-81de-c3adb053cc9f" providerId="ADAL" clId="{06E8612E-1905-4FD3-903D-3F804CCFF889}" dt="2023-04-17T21:23:45.610" v="12614"/>
          <ac:cxnSpMkLst>
            <pc:docMk/>
            <pc:sldMk cId="1454953672" sldId="2147470694"/>
            <ac:cxnSpMk id="115" creationId="{44C98D3C-6A44-8AC2-3076-EA66C909CB5D}"/>
          </ac:cxnSpMkLst>
        </pc:cxnChg>
      </pc:sldChg>
      <pc:sldMasterChg chg="modSp mod delSldLayout">
        <pc:chgData name="Ziegler, Moritz" userId="64963377-0688-41ce-81de-c3adb053cc9f" providerId="ADAL" clId="{06E8612E-1905-4FD3-903D-3F804CCFF889}" dt="2023-04-17T20:29:32.085" v="8454" actId="790"/>
        <pc:sldMasterMkLst>
          <pc:docMk/>
          <pc:sldMasterMk cId="3797982245" sldId="2147483648"/>
        </pc:sldMasterMkLst>
        <pc:spChg chg="mod">
          <ac:chgData name="Ziegler, Moritz" userId="64963377-0688-41ce-81de-c3adb053cc9f" providerId="ADAL" clId="{06E8612E-1905-4FD3-903D-3F804CCFF889}" dt="2023-04-17T20:29:32.082" v="8451" actId="790"/>
          <ac:spMkLst>
            <pc:docMk/>
            <pc:sldMasterMk cId="3797982245" sldId="2147483648"/>
            <ac:spMk id="2" creationId="{7EE5D475-DF19-4144-995E-F7C3970B86A2}"/>
          </ac:spMkLst>
        </pc:spChg>
        <pc:spChg chg="mod">
          <ac:chgData name="Ziegler, Moritz" userId="64963377-0688-41ce-81de-c3adb053cc9f" providerId="ADAL" clId="{06E8612E-1905-4FD3-903D-3F804CCFF889}" dt="2023-04-17T20:29:32.083" v="8452" actId="790"/>
          <ac:spMkLst>
            <pc:docMk/>
            <pc:sldMasterMk cId="3797982245" sldId="2147483648"/>
            <ac:spMk id="3" creationId="{F3A34782-E3A2-CF42-9904-29EE5398AD9A}"/>
          </ac:spMkLst>
        </pc:spChg>
        <pc:spChg chg="mod">
          <ac:chgData name="Ziegler, Moritz" userId="64963377-0688-41ce-81de-c3adb053cc9f" providerId="ADAL" clId="{06E8612E-1905-4FD3-903D-3F804CCFF889}" dt="2023-04-17T20:29:32.084" v="8453" actId="790"/>
          <ac:spMkLst>
            <pc:docMk/>
            <pc:sldMasterMk cId="3797982245" sldId="2147483648"/>
            <ac:spMk id="8" creationId="{3B045111-8DB6-4E89-8ACE-F9267DF8EF55}"/>
          </ac:spMkLst>
        </pc:spChg>
        <pc:spChg chg="mod">
          <ac:chgData name="Ziegler, Moritz" userId="64963377-0688-41ce-81de-c3adb053cc9f" providerId="ADAL" clId="{06E8612E-1905-4FD3-903D-3F804CCFF889}" dt="2023-04-17T20:29:32.085" v="8454" actId="790"/>
          <ac:spMkLst>
            <pc:docMk/>
            <pc:sldMasterMk cId="3797982245" sldId="2147483648"/>
            <ac:spMk id="10" creationId="{6EFCC76F-4750-4971-A449-84D3708DA1C5}"/>
          </ac:spMkLst>
        </pc:spChg>
        <pc:sldLayoutChg chg="del">
          <pc:chgData name="Ziegler, Moritz" userId="64963377-0688-41ce-81de-c3adb053cc9f" providerId="ADAL" clId="{06E8612E-1905-4FD3-903D-3F804CCFF889}" dt="2023-04-17T20:25:41.541" v="2931" actId="47"/>
          <pc:sldLayoutMkLst>
            <pc:docMk/>
            <pc:sldMasterMk cId="3797982245" sldId="2147483648"/>
            <pc:sldLayoutMk cId="1450534582" sldId="2147483754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128039847641374E-2"/>
          <c:y val="3.3020790868324504E-2"/>
          <c:w val="0.94125402871374153"/>
          <c:h val="0.93395841826335102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xVal>
            <c:numRef>
              <c:f>Sheet1!$A$1:$T$1</c:f>
              <c:numCache>
                <c:formatCode>General</c:formatCode>
                <c:ptCount val="20"/>
                <c:pt idx="0">
                  <c:v>18809</c:v>
                </c:pt>
                <c:pt idx="1">
                  <c:v>18840</c:v>
                </c:pt>
                <c:pt idx="2">
                  <c:v>18871</c:v>
                </c:pt>
                <c:pt idx="3">
                  <c:v>18901</c:v>
                </c:pt>
                <c:pt idx="4">
                  <c:v>18932</c:v>
                </c:pt>
                <c:pt idx="5">
                  <c:v>18962</c:v>
                </c:pt>
                <c:pt idx="6">
                  <c:v>18993</c:v>
                </c:pt>
                <c:pt idx="7">
                  <c:v>19024</c:v>
                </c:pt>
                <c:pt idx="8">
                  <c:v>19052</c:v>
                </c:pt>
                <c:pt idx="9">
                  <c:v>19083</c:v>
                </c:pt>
                <c:pt idx="10">
                  <c:v>19113</c:v>
                </c:pt>
                <c:pt idx="11">
                  <c:v>19144</c:v>
                </c:pt>
                <c:pt idx="12">
                  <c:v>19174</c:v>
                </c:pt>
                <c:pt idx="13">
                  <c:v>19205</c:v>
                </c:pt>
                <c:pt idx="14">
                  <c:v>19236</c:v>
                </c:pt>
                <c:pt idx="15">
                  <c:v>19266</c:v>
                </c:pt>
                <c:pt idx="16">
                  <c:v>19297</c:v>
                </c:pt>
                <c:pt idx="17">
                  <c:v>19327</c:v>
                </c:pt>
                <c:pt idx="18">
                  <c:v>19358</c:v>
                </c:pt>
                <c:pt idx="19">
                  <c:v>19389</c:v>
                </c:pt>
              </c:numCache>
            </c:numRef>
          </c:xVal>
          <c:yVal>
            <c:numRef>
              <c:f>Sheet1!$A$2:$T$2</c:f>
              <c:numCache>
                <c:formatCode>General</c:formatCode>
                <c:ptCount val="20"/>
                <c:pt idx="0">
                  <c:v>100</c:v>
                </c:pt>
                <c:pt idx="1">
                  <c:v>99.136699867199539</c:v>
                </c:pt>
                <c:pt idx="2">
                  <c:v>94.323655740145583</c:v>
                </c:pt>
                <c:pt idx="3">
                  <c:v>97.351751120586982</c:v>
                </c:pt>
                <c:pt idx="4">
                  <c:v>95.269450599930281</c:v>
                </c:pt>
                <c:pt idx="5">
                  <c:v>86.09782040111719</c:v>
                </c:pt>
                <c:pt idx="6">
                  <c:v>79.382291456303307</c:v>
                </c:pt>
                <c:pt idx="7">
                  <c:v>109.21115587843693</c:v>
                </c:pt>
                <c:pt idx="8">
                  <c:v>99.393037830436413</c:v>
                </c:pt>
                <c:pt idx="9">
                  <c:v>101.98320808354408</c:v>
                </c:pt>
                <c:pt idx="10">
                  <c:v>133.89594386804339</c:v>
                </c:pt>
                <c:pt idx="11">
                  <c:v>125.96474371147141</c:v>
                </c:pt>
                <c:pt idx="12">
                  <c:v>111.44869642730598</c:v>
                </c:pt>
                <c:pt idx="13">
                  <c:v>106.45167075162891</c:v>
                </c:pt>
                <c:pt idx="14">
                  <c:v>97.277630756871417</c:v>
                </c:pt>
                <c:pt idx="15">
                  <c:v>88.247814182009748</c:v>
                </c:pt>
                <c:pt idx="16">
                  <c:v>121.6701770192159</c:v>
                </c:pt>
                <c:pt idx="17">
                  <c:v>96.72137168836268</c:v>
                </c:pt>
                <c:pt idx="18">
                  <c:v>133.96903836567574</c:v>
                </c:pt>
                <c:pt idx="19">
                  <c:v>131.151775096494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D46-4357-8C89-6D49DED6B6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8077312"/>
        <c:axId val="1"/>
      </c:scatterChart>
      <c:valAx>
        <c:axId val="1178077312"/>
        <c:scaling>
          <c:orientation val="minMax"/>
          <c:max val="19417"/>
          <c:min val="18809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2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8077312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128039847641374E-2"/>
          <c:y val="3.3020790868324504E-2"/>
          <c:w val="0.94125402871374153"/>
          <c:h val="0.93395841826335102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xVal>
            <c:numRef>
              <c:f>Sheet1!$A$1:$T$1</c:f>
              <c:numCache>
                <c:formatCode>General</c:formatCode>
                <c:ptCount val="20"/>
                <c:pt idx="0">
                  <c:v>18809</c:v>
                </c:pt>
                <c:pt idx="1">
                  <c:v>18840</c:v>
                </c:pt>
                <c:pt idx="2">
                  <c:v>18871</c:v>
                </c:pt>
                <c:pt idx="3">
                  <c:v>18901</c:v>
                </c:pt>
                <c:pt idx="4">
                  <c:v>18932</c:v>
                </c:pt>
                <c:pt idx="5">
                  <c:v>18962</c:v>
                </c:pt>
                <c:pt idx="6">
                  <c:v>18993</c:v>
                </c:pt>
                <c:pt idx="7">
                  <c:v>19024</c:v>
                </c:pt>
                <c:pt idx="8">
                  <c:v>19052</c:v>
                </c:pt>
                <c:pt idx="9">
                  <c:v>19083</c:v>
                </c:pt>
                <c:pt idx="10">
                  <c:v>19113</c:v>
                </c:pt>
                <c:pt idx="11">
                  <c:v>19144</c:v>
                </c:pt>
                <c:pt idx="12">
                  <c:v>19174</c:v>
                </c:pt>
                <c:pt idx="13">
                  <c:v>19205</c:v>
                </c:pt>
                <c:pt idx="14">
                  <c:v>19236</c:v>
                </c:pt>
                <c:pt idx="15">
                  <c:v>19266</c:v>
                </c:pt>
                <c:pt idx="16">
                  <c:v>19297</c:v>
                </c:pt>
                <c:pt idx="17">
                  <c:v>19327</c:v>
                </c:pt>
                <c:pt idx="18">
                  <c:v>19358</c:v>
                </c:pt>
                <c:pt idx="19">
                  <c:v>19389</c:v>
                </c:pt>
              </c:numCache>
            </c:numRef>
          </c:xVal>
          <c:yVal>
            <c:numRef>
              <c:f>Sheet1!$A$2:$T$2</c:f>
              <c:numCache>
                <c:formatCode>General</c:formatCode>
                <c:ptCount val="20"/>
                <c:pt idx="0">
                  <c:v>100</c:v>
                </c:pt>
                <c:pt idx="1">
                  <c:v>99.136699867199539</c:v>
                </c:pt>
                <c:pt idx="2">
                  <c:v>94.323655740145583</c:v>
                </c:pt>
                <c:pt idx="3">
                  <c:v>97.351751120586982</c:v>
                </c:pt>
                <c:pt idx="4">
                  <c:v>95.269450599930281</c:v>
                </c:pt>
                <c:pt idx="5">
                  <c:v>86.09782040111719</c:v>
                </c:pt>
                <c:pt idx="6">
                  <c:v>79.382291456303307</c:v>
                </c:pt>
                <c:pt idx="7">
                  <c:v>109.21115587843693</c:v>
                </c:pt>
                <c:pt idx="8">
                  <c:v>99.393037830436413</c:v>
                </c:pt>
                <c:pt idx="9">
                  <c:v>101.98320808354408</c:v>
                </c:pt>
                <c:pt idx="10">
                  <c:v>133.89594386804339</c:v>
                </c:pt>
                <c:pt idx="11">
                  <c:v>125.96474371147141</c:v>
                </c:pt>
                <c:pt idx="12">
                  <c:v>111.44869642730598</c:v>
                </c:pt>
                <c:pt idx="13">
                  <c:v>106.45167075162891</c:v>
                </c:pt>
                <c:pt idx="14">
                  <c:v>97.277630756871417</c:v>
                </c:pt>
                <c:pt idx="15">
                  <c:v>88.247814182009748</c:v>
                </c:pt>
                <c:pt idx="16">
                  <c:v>121.6701770192159</c:v>
                </c:pt>
                <c:pt idx="17">
                  <c:v>96.72137168836268</c:v>
                </c:pt>
                <c:pt idx="18">
                  <c:v>133.96903836567574</c:v>
                </c:pt>
                <c:pt idx="19">
                  <c:v>131.151775096494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628-48B3-9C93-97C5394DBA3E}"/>
            </c:ext>
          </c:extLst>
        </c:ser>
        <c:ser>
          <c:idx val="1"/>
          <c:order val="1"/>
          <c:spPr>
            <a:ln w="28575" algn="ctr">
              <a:solidFill>
                <a:srgbClr val="6F8DB9"/>
              </a:solidFill>
              <a:prstDash val="solid"/>
            </a:ln>
          </c:spPr>
          <c:marker>
            <c:symbol val="none"/>
          </c:marker>
          <c:xVal>
            <c:numRef>
              <c:f>Sheet1!$A$1:$T$1</c:f>
              <c:numCache>
                <c:formatCode>General</c:formatCode>
                <c:ptCount val="20"/>
                <c:pt idx="0">
                  <c:v>18809</c:v>
                </c:pt>
                <c:pt idx="1">
                  <c:v>18840</c:v>
                </c:pt>
                <c:pt idx="2">
                  <c:v>18871</c:v>
                </c:pt>
                <c:pt idx="3">
                  <c:v>18901</c:v>
                </c:pt>
                <c:pt idx="4">
                  <c:v>18932</c:v>
                </c:pt>
                <c:pt idx="5">
                  <c:v>18962</c:v>
                </c:pt>
                <c:pt idx="6">
                  <c:v>18993</c:v>
                </c:pt>
                <c:pt idx="7">
                  <c:v>19024</c:v>
                </c:pt>
                <c:pt idx="8">
                  <c:v>19052</c:v>
                </c:pt>
                <c:pt idx="9">
                  <c:v>19083</c:v>
                </c:pt>
                <c:pt idx="10">
                  <c:v>19113</c:v>
                </c:pt>
                <c:pt idx="11">
                  <c:v>19144</c:v>
                </c:pt>
                <c:pt idx="12">
                  <c:v>19174</c:v>
                </c:pt>
                <c:pt idx="13">
                  <c:v>19205</c:v>
                </c:pt>
                <c:pt idx="14">
                  <c:v>19236</c:v>
                </c:pt>
                <c:pt idx="15">
                  <c:v>19266</c:v>
                </c:pt>
                <c:pt idx="16">
                  <c:v>19297</c:v>
                </c:pt>
                <c:pt idx="17">
                  <c:v>19327</c:v>
                </c:pt>
                <c:pt idx="18">
                  <c:v>19358</c:v>
                </c:pt>
                <c:pt idx="19">
                  <c:v>19389</c:v>
                </c:pt>
              </c:numCache>
            </c:numRef>
          </c:xVal>
          <c:yVal>
            <c:numRef>
              <c:f>Sheet1!$A$3:$T$3</c:f>
              <c:numCache>
                <c:formatCode>General</c:formatCode>
                <c:ptCount val="20"/>
                <c:pt idx="0">
                  <c:v>100</c:v>
                </c:pt>
                <c:pt idx="1">
                  <c:v>99.732204071875515</c:v>
                </c:pt>
                <c:pt idx="2">
                  <c:v>103.21288130763125</c:v>
                </c:pt>
                <c:pt idx="3">
                  <c:v>92.178501864956345</c:v>
                </c:pt>
                <c:pt idx="4">
                  <c:v>90.473391688858285</c:v>
                </c:pt>
                <c:pt idx="5">
                  <c:v>100.68601788262612</c:v>
                </c:pt>
                <c:pt idx="6">
                  <c:v>85.592271598941679</c:v>
                </c:pt>
                <c:pt idx="7">
                  <c:v>99.052156170201272</c:v>
                </c:pt>
                <c:pt idx="8">
                  <c:v>115.46718716485445</c:v>
                </c:pt>
                <c:pt idx="9">
                  <c:v>91.208643427684223</c:v>
                </c:pt>
                <c:pt idx="10">
                  <c:v>130.78969423768413</c:v>
                </c:pt>
                <c:pt idx="11">
                  <c:v>144.17492650263446</c:v>
                </c:pt>
                <c:pt idx="12">
                  <c:v>99.009712637496207</c:v>
                </c:pt>
                <c:pt idx="13">
                  <c:v>122.65804994488465</c:v>
                </c:pt>
                <c:pt idx="14">
                  <c:v>123.32184173192387</c:v>
                </c:pt>
                <c:pt idx="15">
                  <c:v>124.04906241355003</c:v>
                </c:pt>
                <c:pt idx="16">
                  <c:v>126.13959912130773</c:v>
                </c:pt>
                <c:pt idx="17">
                  <c:v>132.8855836518749</c:v>
                </c:pt>
                <c:pt idx="18">
                  <c:v>129.49472903529619</c:v>
                </c:pt>
                <c:pt idx="19">
                  <c:v>146.635230273003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628-48B3-9C93-97C5394DBA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9215624"/>
        <c:axId val="1"/>
      </c:scatterChart>
      <c:valAx>
        <c:axId val="1169215624"/>
        <c:scaling>
          <c:orientation val="minMax"/>
          <c:max val="19417"/>
          <c:min val="18809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2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9215624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128039847641374E-2"/>
          <c:y val="3.3020790868324504E-2"/>
          <c:w val="0.94125402871374153"/>
          <c:h val="0.93395841826335102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xVal>
            <c:numRef>
              <c:f>Sheet1!$A$1:$T$1</c:f>
              <c:numCache>
                <c:formatCode>General</c:formatCode>
                <c:ptCount val="20"/>
                <c:pt idx="0">
                  <c:v>18809</c:v>
                </c:pt>
                <c:pt idx="1">
                  <c:v>18840</c:v>
                </c:pt>
                <c:pt idx="2">
                  <c:v>18871</c:v>
                </c:pt>
                <c:pt idx="3">
                  <c:v>18901</c:v>
                </c:pt>
                <c:pt idx="4">
                  <c:v>18932</c:v>
                </c:pt>
                <c:pt idx="5">
                  <c:v>18962</c:v>
                </c:pt>
                <c:pt idx="6">
                  <c:v>18993</c:v>
                </c:pt>
                <c:pt idx="7">
                  <c:v>19024</c:v>
                </c:pt>
                <c:pt idx="8">
                  <c:v>19052</c:v>
                </c:pt>
                <c:pt idx="9">
                  <c:v>19083</c:v>
                </c:pt>
                <c:pt idx="10">
                  <c:v>19113</c:v>
                </c:pt>
                <c:pt idx="11">
                  <c:v>19144</c:v>
                </c:pt>
                <c:pt idx="12">
                  <c:v>19174</c:v>
                </c:pt>
                <c:pt idx="13">
                  <c:v>19205</c:v>
                </c:pt>
                <c:pt idx="14">
                  <c:v>19236</c:v>
                </c:pt>
                <c:pt idx="15">
                  <c:v>19266</c:v>
                </c:pt>
                <c:pt idx="16">
                  <c:v>19297</c:v>
                </c:pt>
                <c:pt idx="17">
                  <c:v>19327</c:v>
                </c:pt>
                <c:pt idx="18">
                  <c:v>19358</c:v>
                </c:pt>
                <c:pt idx="19">
                  <c:v>19389</c:v>
                </c:pt>
              </c:numCache>
            </c:numRef>
          </c:xVal>
          <c:yVal>
            <c:numRef>
              <c:f>Sheet1!$A$2:$T$2</c:f>
              <c:numCache>
                <c:formatCode>General</c:formatCode>
                <c:ptCount val="20"/>
                <c:pt idx="0">
                  <c:v>100</c:v>
                </c:pt>
                <c:pt idx="1">
                  <c:v>99.136699867199539</c:v>
                </c:pt>
                <c:pt idx="2">
                  <c:v>94.323655740145583</c:v>
                </c:pt>
                <c:pt idx="3">
                  <c:v>97.351751120586982</c:v>
                </c:pt>
                <c:pt idx="4">
                  <c:v>95.269450599930281</c:v>
                </c:pt>
                <c:pt idx="5">
                  <c:v>86.09782040111719</c:v>
                </c:pt>
                <c:pt idx="6">
                  <c:v>79.382291456303307</c:v>
                </c:pt>
                <c:pt idx="7">
                  <c:v>109.21115587843693</c:v>
                </c:pt>
                <c:pt idx="8">
                  <c:v>99.393037830436413</c:v>
                </c:pt>
                <c:pt idx="9">
                  <c:v>101.98320808354408</c:v>
                </c:pt>
                <c:pt idx="10">
                  <c:v>133.89594386804339</c:v>
                </c:pt>
                <c:pt idx="11">
                  <c:v>125.96474371147141</c:v>
                </c:pt>
                <c:pt idx="12">
                  <c:v>111.44869642730598</c:v>
                </c:pt>
                <c:pt idx="13">
                  <c:v>106.45167075162891</c:v>
                </c:pt>
                <c:pt idx="14">
                  <c:v>97.277630756871417</c:v>
                </c:pt>
                <c:pt idx="15">
                  <c:v>88.247814182009748</c:v>
                </c:pt>
                <c:pt idx="16">
                  <c:v>121.6701770192159</c:v>
                </c:pt>
                <c:pt idx="17">
                  <c:v>96.72137168836268</c:v>
                </c:pt>
                <c:pt idx="18">
                  <c:v>133.96903836567574</c:v>
                </c:pt>
                <c:pt idx="19">
                  <c:v>131.151775096494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4B3-48BA-AA0A-9D6C6CC58F13}"/>
            </c:ext>
          </c:extLst>
        </c:ser>
        <c:ser>
          <c:idx val="1"/>
          <c:order val="1"/>
          <c:spPr>
            <a:ln w="28575" algn="ctr">
              <a:solidFill>
                <a:srgbClr val="6F8DB9"/>
              </a:solidFill>
              <a:prstDash val="solid"/>
            </a:ln>
          </c:spPr>
          <c:marker>
            <c:symbol val="none"/>
          </c:marker>
          <c:xVal>
            <c:numRef>
              <c:f>Sheet1!$A$1:$T$1</c:f>
              <c:numCache>
                <c:formatCode>General</c:formatCode>
                <c:ptCount val="20"/>
                <c:pt idx="0">
                  <c:v>18809</c:v>
                </c:pt>
                <c:pt idx="1">
                  <c:v>18840</c:v>
                </c:pt>
                <c:pt idx="2">
                  <c:v>18871</c:v>
                </c:pt>
                <c:pt idx="3">
                  <c:v>18901</c:v>
                </c:pt>
                <c:pt idx="4">
                  <c:v>18932</c:v>
                </c:pt>
                <c:pt idx="5">
                  <c:v>18962</c:v>
                </c:pt>
                <c:pt idx="6">
                  <c:v>18993</c:v>
                </c:pt>
                <c:pt idx="7">
                  <c:v>19024</c:v>
                </c:pt>
                <c:pt idx="8">
                  <c:v>19052</c:v>
                </c:pt>
                <c:pt idx="9">
                  <c:v>19083</c:v>
                </c:pt>
                <c:pt idx="10">
                  <c:v>19113</c:v>
                </c:pt>
                <c:pt idx="11">
                  <c:v>19144</c:v>
                </c:pt>
                <c:pt idx="12">
                  <c:v>19174</c:v>
                </c:pt>
                <c:pt idx="13">
                  <c:v>19205</c:v>
                </c:pt>
                <c:pt idx="14">
                  <c:v>19236</c:v>
                </c:pt>
                <c:pt idx="15">
                  <c:v>19266</c:v>
                </c:pt>
                <c:pt idx="16">
                  <c:v>19297</c:v>
                </c:pt>
                <c:pt idx="17">
                  <c:v>19327</c:v>
                </c:pt>
                <c:pt idx="18">
                  <c:v>19358</c:v>
                </c:pt>
                <c:pt idx="19">
                  <c:v>19389</c:v>
                </c:pt>
              </c:numCache>
            </c:numRef>
          </c:xVal>
          <c:yVal>
            <c:numRef>
              <c:f>Sheet1!$A$3:$T$3</c:f>
              <c:numCache>
                <c:formatCode>General</c:formatCode>
                <c:ptCount val="20"/>
                <c:pt idx="0">
                  <c:v>100</c:v>
                </c:pt>
                <c:pt idx="1">
                  <c:v>99.732204071875515</c:v>
                </c:pt>
                <c:pt idx="2">
                  <c:v>103.21288130763125</c:v>
                </c:pt>
                <c:pt idx="3">
                  <c:v>92.178501864956345</c:v>
                </c:pt>
                <c:pt idx="4">
                  <c:v>90.473391688858285</c:v>
                </c:pt>
                <c:pt idx="5">
                  <c:v>100.68601788262612</c:v>
                </c:pt>
                <c:pt idx="6">
                  <c:v>85.592271598941679</c:v>
                </c:pt>
                <c:pt idx="7">
                  <c:v>99.052156170201272</c:v>
                </c:pt>
                <c:pt idx="8">
                  <c:v>115.46718716485445</c:v>
                </c:pt>
                <c:pt idx="9">
                  <c:v>91.208643427684223</c:v>
                </c:pt>
                <c:pt idx="10">
                  <c:v>130.78969423768413</c:v>
                </c:pt>
                <c:pt idx="11">
                  <c:v>144.17492650263446</c:v>
                </c:pt>
                <c:pt idx="12">
                  <c:v>99.009712637496207</c:v>
                </c:pt>
                <c:pt idx="13">
                  <c:v>122.65804994488465</c:v>
                </c:pt>
                <c:pt idx="14">
                  <c:v>123.32184173192387</c:v>
                </c:pt>
                <c:pt idx="15">
                  <c:v>124.04906241355003</c:v>
                </c:pt>
                <c:pt idx="16">
                  <c:v>126.13959912130773</c:v>
                </c:pt>
                <c:pt idx="17">
                  <c:v>132.8855836518749</c:v>
                </c:pt>
                <c:pt idx="18">
                  <c:v>129.49472903529619</c:v>
                </c:pt>
                <c:pt idx="19">
                  <c:v>146.635230273003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4B3-48BA-AA0A-9D6C6CC58F13}"/>
            </c:ext>
          </c:extLst>
        </c:ser>
        <c:ser>
          <c:idx val="2"/>
          <c:order val="2"/>
          <c:spPr>
            <a:ln w="381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T$1</c:f>
              <c:numCache>
                <c:formatCode>General</c:formatCode>
                <c:ptCount val="20"/>
                <c:pt idx="0">
                  <c:v>18809</c:v>
                </c:pt>
                <c:pt idx="1">
                  <c:v>18840</c:v>
                </c:pt>
                <c:pt idx="2">
                  <c:v>18871</c:v>
                </c:pt>
                <c:pt idx="3">
                  <c:v>18901</c:v>
                </c:pt>
                <c:pt idx="4">
                  <c:v>18932</c:v>
                </c:pt>
                <c:pt idx="5">
                  <c:v>18962</c:v>
                </c:pt>
                <c:pt idx="6">
                  <c:v>18993</c:v>
                </c:pt>
                <c:pt idx="7">
                  <c:v>19024</c:v>
                </c:pt>
                <c:pt idx="8">
                  <c:v>19052</c:v>
                </c:pt>
                <c:pt idx="9">
                  <c:v>19083</c:v>
                </c:pt>
                <c:pt idx="10">
                  <c:v>19113</c:v>
                </c:pt>
                <c:pt idx="11">
                  <c:v>19144</c:v>
                </c:pt>
                <c:pt idx="12">
                  <c:v>19174</c:v>
                </c:pt>
                <c:pt idx="13">
                  <c:v>19205</c:v>
                </c:pt>
                <c:pt idx="14">
                  <c:v>19236</c:v>
                </c:pt>
                <c:pt idx="15">
                  <c:v>19266</c:v>
                </c:pt>
                <c:pt idx="16">
                  <c:v>19297</c:v>
                </c:pt>
                <c:pt idx="17">
                  <c:v>19327</c:v>
                </c:pt>
                <c:pt idx="18">
                  <c:v>19358</c:v>
                </c:pt>
                <c:pt idx="19">
                  <c:v>19389</c:v>
                </c:pt>
              </c:numCache>
            </c:numRef>
          </c:xVal>
          <c:yVal>
            <c:numRef>
              <c:f>Sheet1!$A$4:$T$4</c:f>
              <c:numCache>
                <c:formatCode>General</c:formatCode>
                <c:ptCount val="20"/>
                <c:pt idx="0">
                  <c:v>100</c:v>
                </c:pt>
                <c:pt idx="1">
                  <c:v>106.10497280225056</c:v>
                </c:pt>
                <c:pt idx="2">
                  <c:v>115.39014106727254</c:v>
                </c:pt>
                <c:pt idx="3">
                  <c:v>160.12312798449534</c:v>
                </c:pt>
                <c:pt idx="4">
                  <c:v>122.93815545846374</c:v>
                </c:pt>
                <c:pt idx="5">
                  <c:v>109.13944351631137</c:v>
                </c:pt>
                <c:pt idx="6">
                  <c:v>107.66105731295745</c:v>
                </c:pt>
                <c:pt idx="7">
                  <c:v>128.49477642513901</c:v>
                </c:pt>
                <c:pt idx="8">
                  <c:v>119.99377985448021</c:v>
                </c:pt>
                <c:pt idx="9">
                  <c:v>255.08087736556058</c:v>
                </c:pt>
                <c:pt idx="10">
                  <c:v>250.50497876543852</c:v>
                </c:pt>
                <c:pt idx="11">
                  <c:v>255.01013390913744</c:v>
                </c:pt>
                <c:pt idx="12">
                  <c:v>178.18841391304207</c:v>
                </c:pt>
                <c:pt idx="13">
                  <c:v>138.13598627607618</c:v>
                </c:pt>
                <c:pt idx="14">
                  <c:v>144.99234173769472</c:v>
                </c:pt>
                <c:pt idx="15">
                  <c:v>145.61928051573125</c:v>
                </c:pt>
                <c:pt idx="16">
                  <c:v>184.07567336390571</c:v>
                </c:pt>
                <c:pt idx="17">
                  <c:v>195.95770531536914</c:v>
                </c:pt>
                <c:pt idx="18">
                  <c:v>250.21868634016772</c:v>
                </c:pt>
                <c:pt idx="19">
                  <c:v>188.319223842349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4B3-48BA-AA0A-9D6C6CC58F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88911832"/>
        <c:axId val="1"/>
      </c:scatterChart>
      <c:valAx>
        <c:axId val="288911832"/>
        <c:scaling>
          <c:orientation val="minMax"/>
          <c:max val="19417"/>
          <c:min val="18809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2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8911832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396516201535867E-3"/>
          <c:y val="2.1311475409836064E-2"/>
          <c:w val="0.98052069675969278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1:$E$1</c:f>
              <c:numCache>
                <c:formatCode>General</c:formatCode>
                <c:ptCount val="5"/>
                <c:pt idx="0">
                  <c:v>2288.7598398391688</c:v>
                </c:pt>
                <c:pt idx="1">
                  <c:v>2310</c:v>
                </c:pt>
                <c:pt idx="2">
                  <c:v>1911</c:v>
                </c:pt>
                <c:pt idx="3">
                  <c:v>2194</c:v>
                </c:pt>
                <c:pt idx="4">
                  <c:v>26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0C9-4AFA-A764-534E16019452}"/>
            </c:ext>
          </c:extLst>
        </c:ser>
        <c:ser>
          <c:idx val="1"/>
          <c:order val="1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E$2</c:f>
              <c:numCache>
                <c:formatCode>General</c:formatCode>
                <c:ptCount val="5"/>
                <c:pt idx="0">
                  <c:v>1836.2119212295802</c:v>
                </c:pt>
                <c:pt idx="1">
                  <c:v>1915.0533610443342</c:v>
                </c:pt>
                <c:pt idx="2">
                  <c:v>1597.3000000000002</c:v>
                </c:pt>
                <c:pt idx="3">
                  <c:v>1666.5</c:v>
                </c:pt>
                <c:pt idx="4">
                  <c:v>18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C9-4AFA-A764-534E16019452}"/>
            </c:ext>
          </c:extLst>
        </c:ser>
        <c:ser>
          <c:idx val="2"/>
          <c:order val="2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3:$E$3</c:f>
              <c:numCache>
                <c:formatCode>General</c:formatCode>
                <c:ptCount val="5"/>
                <c:pt idx="0">
                  <c:v>883.52802623090008</c:v>
                </c:pt>
                <c:pt idx="1">
                  <c:v>841.93888361540223</c:v>
                </c:pt>
                <c:pt idx="2">
                  <c:v>748.5</c:v>
                </c:pt>
                <c:pt idx="3">
                  <c:v>870.09736936016213</c:v>
                </c:pt>
                <c:pt idx="4">
                  <c:v>1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0C9-4AFA-A764-534E16019452}"/>
            </c:ext>
          </c:extLst>
        </c:ser>
        <c:ser>
          <c:idx val="3"/>
          <c:order val="3"/>
          <c:spPr>
            <a:ln w="1270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val>
            <c:numRef>
              <c:f>Sheet1!$A$4:$E$4</c:f>
              <c:numCache>
                <c:formatCode>General</c:formatCode>
                <c:ptCount val="5"/>
                <c:pt idx="0">
                  <c:v>434.61700000000002</c:v>
                </c:pt>
                <c:pt idx="1">
                  <c:v>398.6</c:v>
                </c:pt>
                <c:pt idx="2">
                  <c:v>310.8</c:v>
                </c:pt>
                <c:pt idx="3">
                  <c:v>381</c:v>
                </c:pt>
                <c:pt idx="4">
                  <c:v>4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0C9-4AFA-A764-534E16019452}"/>
            </c:ext>
          </c:extLst>
        </c:ser>
        <c:ser>
          <c:idx val="4"/>
          <c:order val="4"/>
          <c:spPr>
            <a:ln w="1270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val>
            <c:numRef>
              <c:f>Sheet1!$A$5:$E$5</c:f>
              <c:numCache>
                <c:formatCode>General</c:formatCode>
                <c:ptCount val="5"/>
                <c:pt idx="0">
                  <c:v>100</c:v>
                </c:pt>
                <c:pt idx="1">
                  <c:v>150</c:v>
                </c:pt>
                <c:pt idx="2">
                  <c:v>230</c:v>
                </c:pt>
                <c:pt idx="3">
                  <c:v>380</c:v>
                </c:pt>
                <c:pt idx="4">
                  <c:v>4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0C9-4AFA-A764-534E16019452}"/>
            </c:ext>
          </c:extLst>
        </c:ser>
        <c:ser>
          <c:idx val="5"/>
          <c:order val="5"/>
          <c:spPr>
            <a:ln w="1905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6:$E$6</c:f>
              <c:numCache>
                <c:formatCode>General</c:formatCode>
                <c:ptCount val="5"/>
                <c:pt idx="0">
                  <c:v>296.12843972911105</c:v>
                </c:pt>
                <c:pt idx="1">
                  <c:v>263.51592941015446</c:v>
                </c:pt>
                <c:pt idx="2">
                  <c:v>256.38951472483296</c:v>
                </c:pt>
                <c:pt idx="3">
                  <c:v>364.79663526728336</c:v>
                </c:pt>
                <c:pt idx="4">
                  <c:v>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0C9-4AFA-A764-534E16019452}"/>
            </c:ext>
          </c:extLst>
        </c:ser>
        <c:ser>
          <c:idx val="6"/>
          <c:order val="6"/>
          <c:spPr>
            <a:ln w="28575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7:$E$7</c:f>
              <c:numCache>
                <c:formatCode>General</c:formatCode>
                <c:ptCount val="5"/>
                <c:pt idx="0">
                  <c:v>120</c:v>
                </c:pt>
                <c:pt idx="1">
                  <c:v>160</c:v>
                </c:pt>
                <c:pt idx="2">
                  <c:v>230</c:v>
                </c:pt>
                <c:pt idx="3">
                  <c:v>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0C9-4AFA-A764-534E16019452}"/>
            </c:ext>
          </c:extLst>
        </c:ser>
        <c:ser>
          <c:idx val="7"/>
          <c:order val="7"/>
          <c:spPr>
            <a:ln w="28575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8:$E$8</c:f>
              <c:numCache>
                <c:formatCode>General</c:formatCode>
                <c:ptCount val="5"/>
                <c:pt idx="0">
                  <c:v>193.72531476472173</c:v>
                </c:pt>
                <c:pt idx="1">
                  <c:v>188.13330583502196</c:v>
                </c:pt>
                <c:pt idx="2">
                  <c:v>206.71245810570034</c:v>
                </c:pt>
                <c:pt idx="3">
                  <c:v>262</c:v>
                </c:pt>
                <c:pt idx="4">
                  <c:v>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0C9-4AFA-A764-534E160194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48055536"/>
        <c:axId val="1"/>
      </c:lineChart>
      <c:catAx>
        <c:axId val="1448055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44805553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3482" y="9395859"/>
            <a:ext cx="428200" cy="33219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#›</a:t>
            </a:fld>
            <a:endParaRPr lang="de-DE" sz="1000" b="1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2180" y="9144273"/>
            <a:ext cx="428200" cy="468975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85207" y="9395859"/>
            <a:ext cx="2719070" cy="33219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076" userDrawn="1">
          <p15:clr>
            <a:srgbClr val="F26B43"/>
          </p15:clr>
        </p15:guide>
        <p15:guide id="3" pos="187" userDrawn="1">
          <p15:clr>
            <a:srgbClr val="F26B43"/>
          </p15:clr>
        </p15:guide>
        <p15:guide id="4" orient="horz" pos="203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28257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97399" y="3916113"/>
            <a:ext cx="6172981" cy="490168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3482" y="9395133"/>
            <a:ext cx="428200" cy="3321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/>
              <a:pPr algn="r"/>
              <a:t>‹#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85207" y="9395133"/>
            <a:ext cx="2719070" cy="3321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2180" y="9144273"/>
            <a:ext cx="428200" cy="46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7" userDrawn="1">
          <p15:clr>
            <a:srgbClr val="F26B43"/>
          </p15:clr>
        </p15:guide>
        <p15:guide id="2" pos="4076" userDrawn="1">
          <p15:clr>
            <a:srgbClr val="F26B43"/>
          </p15:clr>
        </p15:guide>
        <p15:guide id="3" orient="horz" pos="17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316303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5527584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0024095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264850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436542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881173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1891163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9236462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464843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6122868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041494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12.jpeg"/><Relationship Id="rId4" Type="http://schemas.openxmlformats.org/officeDocument/2006/relationships/image" Target="../media/image1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9.png"/><Relationship Id="rId5" Type="http://schemas.openxmlformats.org/officeDocument/2006/relationships/image" Target="../media/image12.jpeg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hyperlink" Target="http://www.trumpf.com/" TargetMode="Externa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3.jpeg"/><Relationship Id="rId5" Type="http://schemas.openxmlformats.org/officeDocument/2006/relationships/image" Target="../media/image3.emf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42.bin"/><Relationship Id="rId9" Type="http://schemas.openxmlformats.org/officeDocument/2006/relationships/image" Target="../media/image5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hyperlink" Target="http://www.trumpf.com/" TargetMode="Externa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hyperlink" Target="http://www.trumpf.com/" TargetMode="Externa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12.jpeg"/><Relationship Id="rId5" Type="http://schemas.openxmlformats.org/officeDocument/2006/relationships/hyperlink" Target="http://www.trumpf.com/" TargetMode="Externa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AF3C4A1-E48A-4B8D-8198-1E3B1C779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1105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AF3C4A1-E48A-4B8D-8198-1E3B1C779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25675485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0622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>
            <a:extLst>
              <a:ext uri="{FF2B5EF4-FFF2-40B4-BE49-F238E27FC236}">
                <a16:creationId xmlns:a16="http://schemas.microsoft.com/office/drawing/2014/main" id="{B82A4D46-B04A-A54F-A04D-B0F85C6D0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340234"/>
            <a:ext cx="109442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1838" y="831428"/>
            <a:ext cx="10944225" cy="37716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18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25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183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6C12E0B-EDC0-4187-8C6C-F82F696A49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998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658212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 I empty with navigatio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24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18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25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183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3B2E481-50BE-41E7-B696-0DC4C170A3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299076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Leerfolie I blank fo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2373233-F38E-4570-AE46-2E1B7EB2802F}"/>
              </a:ext>
            </a:extLst>
          </p:cNvPr>
          <p:cNvSpPr/>
          <p:nvPr userDrawn="1"/>
        </p:nvSpPr>
        <p:spPr>
          <a:xfrm>
            <a:off x="0" y="0"/>
            <a:ext cx="5207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AFAED66-1BD2-45EE-9A7D-3CEB4E32E4E9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1ED963D-600E-41DE-9A5E-E7AB95B08D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AC0105B-11D8-46AA-A52B-43371DE6F6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67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BD16EE72-0FE0-40BC-A9A7-3D33D58EFE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474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4" name="Datumsplatzhalter 8">
            <a:extLst>
              <a:ext uri="{FF2B5EF4-FFF2-40B4-BE49-F238E27FC236}">
                <a16:creationId xmlns:a16="http://schemas.microsoft.com/office/drawing/2014/main" id="{16C99CC4-2F0D-4651-89B5-25BDE554FE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32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2775679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5427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85915" y="1530628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085915" y="3793766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6683" y="2017790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03523" y="4327268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65E52781-09D3-4E47-B6B4-5A34F69E0F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165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0" name="Fußzeilenplatzhalter 3">
            <a:extLst>
              <a:ext uri="{FF2B5EF4-FFF2-40B4-BE49-F238E27FC236}">
                <a16:creationId xmlns:a16="http://schemas.microsoft.com/office/drawing/2014/main" id="{8441FF80-2419-4C84-8F6C-13192E1A6C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237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1" name="Datumsplatzhalter 8">
            <a:extLst>
              <a:ext uri="{FF2B5EF4-FFF2-40B4-BE49-F238E27FC236}">
                <a16:creationId xmlns:a16="http://schemas.microsoft.com/office/drawing/2014/main" id="{47E42470-D049-41AB-8A43-A2E0B46A97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9818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743C48B-5B4E-484C-BF53-B0F2A2255D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3523" y="293619"/>
            <a:ext cx="5572539" cy="478882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9CA9E1F7-9349-4A7F-AAFF-7987E87F39D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11654" y="772501"/>
            <a:ext cx="5564407" cy="34786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6454A58-3C28-4B59-A900-5B812AF02638}"/>
              </a:ext>
            </a:extLst>
          </p:cNvPr>
          <p:cNvSpPr/>
          <p:nvPr userDrawn="1"/>
        </p:nvSpPr>
        <p:spPr>
          <a:xfrm>
            <a:off x="11878849" y="-4132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3AEDE66-F193-43A1-A6C1-7470DCB87A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73712" y="-8626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59738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179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85915" y="1530628"/>
            <a:ext cx="5590148" cy="347868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6683" y="2017790"/>
            <a:ext cx="5589380" cy="38115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65E52781-09D3-4E47-B6B4-5A34F69E0F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1655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0" name="Fußzeilenplatzhalter 3">
            <a:extLst>
              <a:ext uri="{FF2B5EF4-FFF2-40B4-BE49-F238E27FC236}">
                <a16:creationId xmlns:a16="http://schemas.microsoft.com/office/drawing/2014/main" id="{8441FF80-2419-4C84-8F6C-13192E1A6C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2378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1" name="Datumsplatzhalter 8">
            <a:extLst>
              <a:ext uri="{FF2B5EF4-FFF2-40B4-BE49-F238E27FC236}">
                <a16:creationId xmlns:a16="http://schemas.microsoft.com/office/drawing/2014/main" id="{47E42470-D049-41AB-8A43-A2E0B46A97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98191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173F31BD-8AD7-462D-8357-A6D3655A36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3523" y="293619"/>
            <a:ext cx="5572539" cy="478882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5763240-C61F-4838-8140-996AD231D74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11654" y="772501"/>
            <a:ext cx="5564407" cy="34786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6BD0962-7D0B-4B8C-9401-5451FD890895}"/>
              </a:ext>
            </a:extLst>
          </p:cNvPr>
          <p:cNvSpPr/>
          <p:nvPr userDrawn="1"/>
        </p:nvSpPr>
        <p:spPr>
          <a:xfrm>
            <a:off x="11878849" y="-4132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6D1DD652-D406-4137-B34F-BDDD55A12C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73712" y="-8626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5438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I images left + 2x Textbausteine I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82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820B7BB-4FC3-EB4C-B3DB-67A28E98C77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96001" y="1525771"/>
            <a:ext cx="5595708" cy="498648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3813661B-2175-A444-B7DE-8B0371A2727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096001" y="3896141"/>
            <a:ext cx="5595708" cy="39141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66EC86B-CFB4-4A90-A302-82ADE46E92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06136" y="2155035"/>
            <a:ext cx="5578607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EFD10ABA-461E-4505-AA85-13D7BCE5C2C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106074" y="4417187"/>
            <a:ext cx="5578607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B4B94CD7-C6D8-4AA5-85A5-463479A0B4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01722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68E3815B-01AE-4337-B7D5-7FB3E905F7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82445" y="6356349"/>
            <a:ext cx="393883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6" name="Datumsplatzhalter 8">
            <a:extLst>
              <a:ext uri="{FF2B5EF4-FFF2-40B4-BE49-F238E27FC236}">
                <a16:creationId xmlns:a16="http://schemas.microsoft.com/office/drawing/2014/main" id="{33E91D70-D11B-48BD-B1E2-08F18D8980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88258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97511D5A-0062-46DD-B19C-26E590C0BE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3523" y="293619"/>
            <a:ext cx="5572539" cy="478882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27006BC3-400F-4D22-9137-5A709D40823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11654" y="772501"/>
            <a:ext cx="5564407" cy="34786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EAE10A9C-1D46-481C-AD6D-346731FC5BFC}"/>
              </a:ext>
            </a:extLst>
          </p:cNvPr>
          <p:cNvSpPr/>
          <p:nvPr userDrawn="1"/>
        </p:nvSpPr>
        <p:spPr>
          <a:xfrm>
            <a:off x="11878849" y="-4132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E3858AB4-781A-435C-A049-9BBB6B13A2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73712" y="-8626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81770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52966113-C76A-418D-A5A5-4F949147C1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174"/>
            <a:ext cx="6096000" cy="6854821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570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17897" y="1490868"/>
            <a:ext cx="5125826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717897" y="3775223"/>
            <a:ext cx="511016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9137" y="2087363"/>
            <a:ext cx="5110163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24329" y="4400550"/>
            <a:ext cx="5110163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AD4A033B-E3A5-49A1-A0A1-686451D0C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4596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3FE89345-D35D-41E1-834A-8B0EF4BEB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5320" y="6356349"/>
            <a:ext cx="3763566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7" name="Datumsplatzhalter 8">
            <a:extLst>
              <a:ext uri="{FF2B5EF4-FFF2-40B4-BE49-F238E27FC236}">
                <a16:creationId xmlns:a16="http://schemas.microsoft.com/office/drawing/2014/main" id="{D8977680-DF7E-4B77-9116-543501C865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21132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D5E2206E-AF22-4983-9C2C-4590FA70CD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6467" y="293619"/>
            <a:ext cx="5102613" cy="478882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1C4108EF-C6D4-4E41-BDFA-993EC85754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4597" y="772501"/>
            <a:ext cx="5095167" cy="34786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69A86EF2-AC40-497A-A787-F9CCAB4584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5759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52966113-C76A-418D-A5A5-4F949147C1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174"/>
            <a:ext cx="6096000" cy="6854821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37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33035" y="1490869"/>
            <a:ext cx="5385792" cy="347868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33601" y="3651398"/>
            <a:ext cx="5369334" cy="36237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4841" y="1943100"/>
            <a:ext cx="5369334" cy="1485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40033" y="4132462"/>
            <a:ext cx="5369334" cy="2087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AD4A033B-E3A5-49A1-A0A1-686451D0C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3621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3FE89345-D35D-41E1-834A-8B0EF4BEB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34345" y="6356349"/>
            <a:ext cx="4184482" cy="32067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7" name="Datumsplatzhalter 8">
            <a:extLst>
              <a:ext uri="{FF2B5EF4-FFF2-40B4-BE49-F238E27FC236}">
                <a16:creationId xmlns:a16="http://schemas.microsoft.com/office/drawing/2014/main" id="{D8977680-DF7E-4B77-9116-543501C865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0157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D5E2206E-AF22-4983-9C2C-4590FA70CD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442" y="293619"/>
            <a:ext cx="5361401" cy="478882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1C4108EF-C6D4-4E41-BDFA-993EC85754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0841" y="772501"/>
            <a:ext cx="5353577" cy="34786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2517E12-6242-4322-B617-4D7DE136C5DA}"/>
              </a:ext>
            </a:extLst>
          </p:cNvPr>
          <p:cNvSpPr/>
          <p:nvPr userDrawn="1"/>
        </p:nvSpPr>
        <p:spPr>
          <a:xfrm>
            <a:off x="0" y="0"/>
            <a:ext cx="524831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5C94B06-004E-4364-A206-8075C1AC5D89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65B881E-D36B-4962-92E7-3293D16BC83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691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5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30AF51F-D691-1542-9D10-302D5F40526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44706" y="1474163"/>
            <a:ext cx="5144104" cy="42913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A23CFF2-F559-F74E-8130-4F216473CC9A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744706" y="3758519"/>
            <a:ext cx="5144104" cy="429134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5A74C18-DD35-1E41-97BE-603FD5CB42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7131" y="333375"/>
            <a:ext cx="5145669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16377AD8-A9E5-4F78-921C-ECD8EB6035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46524" y="2020961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813E7D0-3743-42F7-BD0B-0172EE571E3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51716" y="4400550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6F7AB847-AAAC-4CF3-9904-572635249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930DDDD5-DFAD-449A-8FED-0C3091E66E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2437" y="6356349"/>
            <a:ext cx="395945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6DC50217-3534-49E9-9A20-4A40C5E7A0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82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4F591F34-389C-46D0-9F72-5331310CD7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9533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98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3457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09698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809699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8158" y="307976"/>
            <a:ext cx="7901402" cy="485352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09698" y="211523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27462" y="439454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B46673B5-29A1-4021-9EDD-84FDB6258C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660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DF66A3E9-C61F-4A09-92BD-B240180B3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06383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5" name="Datumsplatzhalter 8">
            <a:extLst>
              <a:ext uri="{FF2B5EF4-FFF2-40B4-BE49-F238E27FC236}">
                <a16:creationId xmlns:a16="http://schemas.microsoft.com/office/drawing/2014/main" id="{430A4DCE-695E-434C-9E08-7B8D0FE6DD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12196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2425E9A-D37A-43A8-AD76-3A7CDB7D22EC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3932A716-7E80-4BB2-9C83-1B70D9B9DC7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AC7FCDA2-AB65-4811-B42B-F460EF22DA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0638" y="7933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995376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845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B371B07-12D8-4195-A6EF-3311D2B48DF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4537" y="0"/>
            <a:ext cx="11627463" cy="6858000"/>
          </a:xfrm>
          <a:custGeom>
            <a:avLst/>
            <a:gdLst>
              <a:gd name="connsiteX0" fmla="*/ 1988 w 11627463"/>
              <a:gd name="connsiteY0" fmla="*/ 3633720 h 6858000"/>
              <a:gd name="connsiteX1" fmla="*/ 1988 w 11627463"/>
              <a:gd name="connsiteY1" fmla="*/ 6001000 h 6858000"/>
              <a:gd name="connsiteX2" fmla="*/ 5401988 w 11627463"/>
              <a:gd name="connsiteY2" fmla="*/ 6001000 h 6858000"/>
              <a:gd name="connsiteX3" fmla="*/ 5401988 w 11627463"/>
              <a:gd name="connsiteY3" fmla="*/ 3633720 h 6858000"/>
              <a:gd name="connsiteX4" fmla="*/ 0 w 11627463"/>
              <a:gd name="connsiteY4" fmla="*/ 0 h 6858000"/>
              <a:gd name="connsiteX5" fmla="*/ 11627463 w 11627463"/>
              <a:gd name="connsiteY5" fmla="*/ 0 h 6858000"/>
              <a:gd name="connsiteX6" fmla="*/ 11627463 w 11627463"/>
              <a:gd name="connsiteY6" fmla="*/ 6858000 h 6858000"/>
              <a:gd name="connsiteX7" fmla="*/ 0 w 11627463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27463" h="6858000">
                <a:moveTo>
                  <a:pt x="1988" y="3633720"/>
                </a:moveTo>
                <a:lnTo>
                  <a:pt x="1988" y="6001000"/>
                </a:lnTo>
                <a:lnTo>
                  <a:pt x="5401988" y="6001000"/>
                </a:lnTo>
                <a:lnTo>
                  <a:pt x="5401988" y="3633720"/>
                </a:lnTo>
                <a:close/>
                <a:moveTo>
                  <a:pt x="0" y="0"/>
                </a:moveTo>
                <a:lnTo>
                  <a:pt x="11627463" y="0"/>
                </a:lnTo>
                <a:lnTo>
                  <a:pt x="1162746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85172"/>
          </a:solidFill>
        </p:spPr>
        <p:txBody>
          <a:bodyPr wrap="square" anchor="ctr">
            <a:noAutofit/>
          </a:bodyPr>
          <a:lstStyle>
            <a:lvl1pPr algn="just">
              <a:defRPr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6807" y="4443935"/>
            <a:ext cx="178482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6807" y="4690300"/>
            <a:ext cx="490089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795669" y="3721099"/>
            <a:ext cx="659193" cy="659193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8BFEC520-D42B-47D8-AB4B-C9FAE3D8AE56}"/>
              </a:ext>
            </a:extLst>
          </p:cNvPr>
          <p:cNvSpPr/>
          <p:nvPr userDrawn="1"/>
        </p:nvSpPr>
        <p:spPr>
          <a:xfrm>
            <a:off x="11143231" y="5812561"/>
            <a:ext cx="803277" cy="793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E4AFDA7-75EF-4613-A184-815FC9F1A475}"/>
              </a:ext>
            </a:extLst>
          </p:cNvPr>
          <p:cNvSpPr/>
          <p:nvPr userDrawn="1"/>
        </p:nvSpPr>
        <p:spPr>
          <a:xfrm>
            <a:off x="11143231" y="5812561"/>
            <a:ext cx="803277" cy="793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1FE346C-9144-4F15-8300-234300769C82}"/>
              </a:ext>
            </a:extLst>
          </p:cNvPr>
          <p:cNvSpPr/>
          <p:nvPr userDrawn="1"/>
        </p:nvSpPr>
        <p:spPr>
          <a:xfrm>
            <a:off x="0" y="0"/>
            <a:ext cx="564537" cy="685800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B32FF56-5D1D-4B2B-8AF8-384F59E457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250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3296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53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3457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09698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8158" y="307976"/>
            <a:ext cx="7885669" cy="36227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09698" y="2115232"/>
            <a:ext cx="7866365" cy="37140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B46673B5-29A1-4021-9EDD-84FDB6258C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660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DF66A3E9-C61F-4A09-92BD-B240180B3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06383" y="6356349"/>
            <a:ext cx="6220417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5" name="Datumsplatzhalter 8">
            <a:extLst>
              <a:ext uri="{FF2B5EF4-FFF2-40B4-BE49-F238E27FC236}">
                <a16:creationId xmlns:a16="http://schemas.microsoft.com/office/drawing/2014/main" id="{430A4DCE-695E-434C-9E08-7B8D0FE6DD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12196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5BC1F18-575D-4C6B-B5CA-B1255FEBB5B3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877339D-EDCA-42D8-8A97-44F13D29413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862D2E68-0552-4059-8ACB-063FD41B9A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0638" y="7933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425565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8224" y="3428999"/>
            <a:ext cx="3362151" cy="3429001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89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827463" y="374705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7463" y="307975"/>
            <a:ext cx="7848600" cy="461325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27462" y="211523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marL="0" marR="0" lvl="1" indent="17780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827463" y="4394546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marL="0" marR="0" lvl="1" indent="17780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2AF05AEA-7998-4D4F-844E-B7E9DFC51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660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85673FC5-3DD8-45A9-8B02-229FCE9A66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06383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34BDE528-E83F-414A-983A-72D4FFC2CD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12196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600BF0C-B4B8-4DA3-A2BF-5A3D9E2F008C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32B08BD4-EE4E-4D2C-9FDF-143D78A9B5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254D47F8-EFE7-437C-AB5C-2C1AFA6923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0638" y="7933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967115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389" userDrawn="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A865AB-1893-4A5F-8F75-A449F29E8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655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A865AB-1893-4A5F-8F75-A449F29E8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ED435E36-27B9-412A-B19D-8E5E92512496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1" name="Bildplatzhalter 31">
            <a:extLst>
              <a:ext uri="{FF2B5EF4-FFF2-40B4-BE49-F238E27FC236}">
                <a16:creationId xmlns:a16="http://schemas.microsoft.com/office/drawing/2014/main" id="{05BE5A14-57C4-E144-8C66-19278E73576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176" y="340234"/>
            <a:ext cx="7619841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36" y="831428"/>
            <a:ext cx="7618394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19138" y="1473639"/>
            <a:ext cx="7618394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719138" y="3747051"/>
            <a:ext cx="7618394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9137" y="2115232"/>
            <a:ext cx="761839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26962" y="4394546"/>
            <a:ext cx="761839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71EAA846-F94F-49DC-8AB2-8518B9298A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4596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0" name="Fußzeilenplatzhalter 3">
            <a:extLst>
              <a:ext uri="{FF2B5EF4-FFF2-40B4-BE49-F238E27FC236}">
                <a16:creationId xmlns:a16="http://schemas.microsoft.com/office/drawing/2014/main" id="{A24BD25D-B341-4DEB-BEFC-09792A29B8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5319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1" name="Datumsplatzhalter 8">
            <a:extLst>
              <a:ext uri="{FF2B5EF4-FFF2-40B4-BE49-F238E27FC236}">
                <a16:creationId xmlns:a16="http://schemas.microsoft.com/office/drawing/2014/main" id="{7B97A6A6-67F6-4519-9A8E-795BFC7809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21132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83FAD419-7A9D-4978-BE93-231F0F275B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BA0DCF24-DEB2-4076-A8B2-33FF3B89ADB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513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A865AB-1893-4A5F-8F75-A449F29E8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4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A865AB-1893-4A5F-8F75-A449F29E8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ED435E36-27B9-412A-B19D-8E5E92512496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1" name="Bildplatzhalter 31">
            <a:extLst>
              <a:ext uri="{FF2B5EF4-FFF2-40B4-BE49-F238E27FC236}">
                <a16:creationId xmlns:a16="http://schemas.microsoft.com/office/drawing/2014/main" id="{05BE5A14-57C4-E144-8C66-19278E73576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02135"/>
            <a:ext cx="7824478" cy="491194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7933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71EAA846-F94F-49DC-8AB2-8518B9298A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0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0" name="Fußzeilenplatzhalter 3">
            <a:extLst>
              <a:ext uri="{FF2B5EF4-FFF2-40B4-BE49-F238E27FC236}">
                <a16:creationId xmlns:a16="http://schemas.microsoft.com/office/drawing/2014/main" id="{A24BD25D-B341-4DEB-BEFC-09792A29B8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27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1" name="Datumsplatzhalter 8">
            <a:extLst>
              <a:ext uri="{FF2B5EF4-FFF2-40B4-BE49-F238E27FC236}">
                <a16:creationId xmlns:a16="http://schemas.microsoft.com/office/drawing/2014/main" id="{7B97A6A6-67F6-4519-9A8E-795BFC7809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985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2D90980-8452-4703-B542-661DA3910F7A}"/>
              </a:ext>
            </a:extLst>
          </p:cNvPr>
          <p:cNvSpPr/>
          <p:nvPr userDrawn="1"/>
        </p:nvSpPr>
        <p:spPr>
          <a:xfrm>
            <a:off x="0" y="0"/>
            <a:ext cx="524831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E9324B3-49F6-4B57-95EC-2DBFCE773F0F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0434B3A-C3A4-4B70-8756-9FD791D8E4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CD65EC42-FD76-420E-B5F3-EF859CA6BDD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53790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425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85AD2043-5BC3-4CBD-9AD1-AAE34C5C0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138" y="302135"/>
            <a:ext cx="7823079" cy="472670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138" y="793328"/>
            <a:ext cx="7822992" cy="38114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177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7177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7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355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595F4ACD-6B12-4021-A188-5655CBF4E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0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8" name="Fußzeilenplatzhalter 3">
            <a:extLst>
              <a:ext uri="{FF2B5EF4-FFF2-40B4-BE49-F238E27FC236}">
                <a16:creationId xmlns:a16="http://schemas.microsoft.com/office/drawing/2014/main" id="{1EA39B95-4A72-4E1D-B50E-D60F8EAA48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97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49FB5A5F-2136-4266-A753-5F3C6109C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255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7706EE43-5919-4163-9981-9C8652581D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821BC6F7-03BC-40CC-B905-22D80BB053E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22830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837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85AD2043-5BC3-4CBD-9AD1-AAE34C5C0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02134"/>
            <a:ext cx="7823079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793328"/>
            <a:ext cx="7822992" cy="38114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595F4ACD-6B12-4021-A188-5655CBF4E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8" name="Fußzeilenplatzhalter 3">
            <a:extLst>
              <a:ext uri="{FF2B5EF4-FFF2-40B4-BE49-F238E27FC236}">
                <a16:creationId xmlns:a16="http://schemas.microsoft.com/office/drawing/2014/main" id="{1EA39B95-4A72-4E1D-B50E-D60F8EAA48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24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49FB5A5F-2136-4266-A753-5F3C6109C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82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6EDCA930-0B44-4A2A-AC13-17982BDF48F9}"/>
              </a:ext>
            </a:extLst>
          </p:cNvPr>
          <p:cNvSpPr/>
          <p:nvPr userDrawn="1"/>
        </p:nvSpPr>
        <p:spPr>
          <a:xfrm>
            <a:off x="0" y="0"/>
            <a:ext cx="524831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AB1DA71-E2E9-4955-A598-B0287CF9B612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4AEE1D0B-D61E-4C5B-8552-0600FA3CE7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0412F014-2FE4-41C4-8385-BCFA0B2895E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854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Media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A5870B-EE33-427E-82DD-85DA5CF20213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CD80494-17F5-4F7A-9AD0-9AE633F14C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3CB3351-BCBF-4E77-B95D-8E0F8D0F70B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86618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0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0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0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0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58D6C31F-D9B4-4D99-B554-7302C384F95C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0DAFFA78-6045-4552-AD29-42A9F429DC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1C67954-ACAA-4B0A-A41A-082A37EFD7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81298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46F1759-7D84-4130-A2EA-FAA80AA30A12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824AF618-9E5A-4E5D-B2FA-EFCD390D54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F2F7CC6-2FD6-4164-B6F9-A3D4ABE112C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4263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11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24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82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D4B0E30-4865-42F8-B300-6C0DE94EDD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941" y="302134"/>
            <a:ext cx="10931528" cy="457200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F19CA069-5CB2-4145-836E-244E4830EED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7357" y="783389"/>
            <a:ext cx="10901712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214FE61B-88EA-4E15-8D2E-28DE1BF2CF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5956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731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87A93B7-00C1-4DA8-86CB-C3B492CDF1C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25"/>
            <a:ext cx="12192000" cy="6835775"/>
          </a:xfrm>
          <a:solidFill>
            <a:srgbClr val="28517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02173"/>
            <a:ext cx="18970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19753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17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457630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57630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676034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676034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1168CD1-AA6F-4409-A330-FC44BB2A9670}"/>
              </a:ext>
            </a:extLst>
          </p:cNvPr>
          <p:cNvSpPr/>
          <p:nvPr userDrawn="1"/>
        </p:nvSpPr>
        <p:spPr>
          <a:xfrm>
            <a:off x="0" y="0"/>
            <a:ext cx="5158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BB3D151F-17BC-4EC4-ACF6-BFAF6E41CB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841" y="302134"/>
            <a:ext cx="10931528" cy="457200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3CAA5286-3759-463F-B6E2-1086AB6FCB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4657" y="783389"/>
            <a:ext cx="10901712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260CFD2B-FFF7-4974-BDAA-F9948D2832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8" name="Fußzeilenplatzhalter 3">
            <a:extLst>
              <a:ext uri="{FF2B5EF4-FFF2-40B4-BE49-F238E27FC236}">
                <a16:creationId xmlns:a16="http://schemas.microsoft.com/office/drawing/2014/main" id="{88D4A1A6-7830-4D06-BB30-0147F6015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24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9" name="Datumsplatzhalter 8">
            <a:extLst>
              <a:ext uri="{FF2B5EF4-FFF2-40B4-BE49-F238E27FC236}">
                <a16:creationId xmlns:a16="http://schemas.microsoft.com/office/drawing/2014/main" id="{A37A9F3B-0CB4-4D8D-8DC0-F823E0CAAF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82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F337ED8-D0E2-427D-A958-CB2DA6B84A1B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3EDEA837-0319-4407-9AAA-961ACAE17C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094755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449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140" y="302134"/>
            <a:ext cx="10956923" cy="491193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138" y="793328"/>
            <a:ext cx="1095680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53BDC896-CC7C-444F-A935-A273A4AFC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5B5FA467-39F9-482E-A189-1020CA391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24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6" name="Datumsplatzhalter 8">
            <a:extLst>
              <a:ext uri="{FF2B5EF4-FFF2-40B4-BE49-F238E27FC236}">
                <a16:creationId xmlns:a16="http://schemas.microsoft.com/office/drawing/2014/main" id="{171FFFAF-09E1-490B-92CE-7452CF1118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82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0EFCB24-8D59-4AFF-A5D8-1F39A101D59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86181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169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02134"/>
            <a:ext cx="11160125" cy="491193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7933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53BDC896-CC7C-444F-A935-A273A4AFC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5B5FA467-39F9-482E-A189-1020CA391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24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6" name="Datumsplatzhalter 8">
            <a:extLst>
              <a:ext uri="{FF2B5EF4-FFF2-40B4-BE49-F238E27FC236}">
                <a16:creationId xmlns:a16="http://schemas.microsoft.com/office/drawing/2014/main" id="{171FFFAF-09E1-490B-92CE-7452CF1118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82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55E07D48-E639-4277-A446-25F073D5AB79}"/>
              </a:ext>
            </a:extLst>
          </p:cNvPr>
          <p:cNvSpPr/>
          <p:nvPr userDrawn="1"/>
        </p:nvSpPr>
        <p:spPr>
          <a:xfrm>
            <a:off x="0" y="0"/>
            <a:ext cx="5158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4DEB66C-6DAD-44F7-9386-AF7B1BE7BF5C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139C7180-8356-4AC5-B607-C0025234E33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543590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620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006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06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06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140" y="270084"/>
            <a:ext cx="10956923" cy="529023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9138" y="800100"/>
            <a:ext cx="10956800" cy="41912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18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25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183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E62DCAE7-93CE-4ABE-A3EC-D1C8E219B1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3787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7130592-A4C7-4D99-BE68-EA60CD194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3096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7130592-A4C7-4D99-BE68-EA60CD194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E281F56A-80EC-449E-B6A3-77A2919AEA7C}"/>
              </a:ext>
            </a:extLst>
          </p:cNvPr>
          <p:cNvSpPr/>
          <p:nvPr userDrawn="1"/>
        </p:nvSpPr>
        <p:spPr>
          <a:xfrm>
            <a:off x="0" y="0"/>
            <a:ext cx="5158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C71FA166-7F79-4CFA-8199-EAC2D4AC71EF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custGeom>
            <a:avLst/>
            <a:gdLst>
              <a:gd name="connsiteX0" fmla="*/ 1399761 w 2171700"/>
              <a:gd name="connsiteY0" fmla="*/ 4886366 h 5661025"/>
              <a:gd name="connsiteX1" fmla="*/ 1399761 w 2171700"/>
              <a:gd name="connsiteY1" fmla="*/ 5407262 h 5661025"/>
              <a:gd name="connsiteX2" fmla="*/ 1920657 w 2171700"/>
              <a:gd name="connsiteY2" fmla="*/ 5407262 h 5661025"/>
              <a:gd name="connsiteX3" fmla="*/ 1920657 w 2171700"/>
              <a:gd name="connsiteY3" fmla="*/ 4886366 h 5661025"/>
              <a:gd name="connsiteX4" fmla="*/ 0 w 2171700"/>
              <a:gd name="connsiteY4" fmla="*/ 0 h 5661025"/>
              <a:gd name="connsiteX5" fmla="*/ 2171700 w 2171700"/>
              <a:gd name="connsiteY5" fmla="*/ 0 h 5661025"/>
              <a:gd name="connsiteX6" fmla="*/ 2171700 w 2171700"/>
              <a:gd name="connsiteY6" fmla="*/ 5661025 h 5661025"/>
              <a:gd name="connsiteX7" fmla="*/ 0 w 2171700"/>
              <a:gd name="connsiteY7" fmla="*/ 566102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71700" h="5661025">
                <a:moveTo>
                  <a:pt x="1399761" y="4886366"/>
                </a:moveTo>
                <a:lnTo>
                  <a:pt x="1399761" y="5407262"/>
                </a:lnTo>
                <a:lnTo>
                  <a:pt x="1920657" y="5407262"/>
                </a:lnTo>
                <a:lnTo>
                  <a:pt x="1920657" y="4886366"/>
                </a:lnTo>
                <a:close/>
                <a:moveTo>
                  <a:pt x="0" y="0"/>
                </a:moveTo>
                <a:lnTo>
                  <a:pt x="2171700" y="0"/>
                </a:lnTo>
                <a:lnTo>
                  <a:pt x="2171700" y="5661025"/>
                </a:lnTo>
                <a:lnTo>
                  <a:pt x="0" y="5661025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>
                <a:latin typeface="+mj-lt"/>
                <a:cs typeface="Segoe UI" panose="020B0502040204020203" pitchFamily="34" charset="0"/>
              </a:rPr>
              <a:t>Master </a:t>
            </a:r>
            <a:r>
              <a:rPr lang="de-DE" sz="1200" dirty="0" err="1">
                <a:latin typeface="+mj-lt"/>
                <a:cs typeface="Segoe UI" panose="020B0502040204020203" pitchFamily="34" charset="0"/>
              </a:rPr>
              <a:t>text</a:t>
            </a:r>
            <a:r>
              <a:rPr lang="de-DE" sz="1200" dirty="0">
                <a:latin typeface="+mj-lt"/>
                <a:cs typeface="Segoe UI" panose="020B0502040204020203" pitchFamily="34" charset="0"/>
              </a:rPr>
              <a:t> </a:t>
            </a:r>
            <a:r>
              <a:rPr lang="de-DE" sz="1200" dirty="0" err="1">
                <a:latin typeface="+mj-lt"/>
                <a:cs typeface="Segoe UI" panose="020B0502040204020203" pitchFamily="34" charset="0"/>
              </a:rPr>
              <a:t>format</a:t>
            </a:r>
            <a:endParaRPr lang="de-DE" sz="12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66261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5BA59B5-5E8D-4280-B272-08EA03C0CD5B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254157C-EBF6-43D0-A5B3-B12589DC6F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977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107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271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4180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271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4180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138" y="302090"/>
            <a:ext cx="10956925" cy="42796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136" y="730052"/>
            <a:ext cx="10956802" cy="3367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CF5E5345-A89D-4A5C-B444-13A125F727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51C80808-F84B-44FD-9431-4763570D73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24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8" name="Datumsplatzhalter 8">
            <a:extLst>
              <a:ext uri="{FF2B5EF4-FFF2-40B4-BE49-F238E27FC236}">
                <a16:creationId xmlns:a16="http://schemas.microsoft.com/office/drawing/2014/main" id="{FB8D59F5-0132-467E-976E-FE6C05DD0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82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42E0C7C5-E689-43E4-92EC-DB203885EA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748110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8124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02134"/>
            <a:ext cx="11160125" cy="491193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7933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CF5E5345-A89D-4A5C-B444-13A125F727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51C80808-F84B-44FD-9431-4763570D73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24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Jeanette Thumm Update </a:t>
            </a:r>
            <a:r>
              <a:rPr lang="de-DE" dirty="0" err="1"/>
              <a:t>Empower</a:t>
            </a:r>
            <a:endParaRPr lang="de-DE" dirty="0"/>
          </a:p>
        </p:txBody>
      </p:sp>
      <p:sp>
        <p:nvSpPr>
          <p:cNvPr id="18" name="Datumsplatzhalter 8">
            <a:extLst>
              <a:ext uri="{FF2B5EF4-FFF2-40B4-BE49-F238E27FC236}">
                <a16:creationId xmlns:a16="http://schemas.microsoft.com/office/drawing/2014/main" id="{FB8D59F5-0132-467E-976E-FE6C05DD0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82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DD386B1-BFDA-4B3F-88B8-BB48C56D5E14}"/>
              </a:ext>
            </a:extLst>
          </p:cNvPr>
          <p:cNvSpPr/>
          <p:nvPr userDrawn="1"/>
        </p:nvSpPr>
        <p:spPr>
          <a:xfrm>
            <a:off x="0" y="0"/>
            <a:ext cx="5158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6B951EB-4952-47FE-9BF0-77E879999E03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7ECC6E8E-EBF9-4467-A9EE-5D617CDE69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826257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16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9919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66006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9919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6006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9214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4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310727"/>
            <a:ext cx="10944225" cy="45720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1838" y="767928"/>
            <a:ext cx="10944225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18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25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183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7B6F5C4-539C-48CA-88CB-0419A006A4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998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082062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194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02134"/>
            <a:ext cx="11160125" cy="49852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793328"/>
            <a:ext cx="11160000" cy="387798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4D34212-CA06-4618-9ED5-008A82903EC7}"/>
              </a:ext>
            </a:extLst>
          </p:cNvPr>
          <p:cNvSpPr/>
          <p:nvPr userDrawn="1"/>
        </p:nvSpPr>
        <p:spPr>
          <a:xfrm>
            <a:off x="0" y="0"/>
            <a:ext cx="5158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FAF2EB9-C02A-4CE1-8C20-E0979A986D95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29ECE714-40EB-4042-A5B7-89BE0D11478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051680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Text Bausteine + Bild I text block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195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02134"/>
            <a:ext cx="11160125" cy="491193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060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FC8822-77D7-4922-9FBA-0D56B6286800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9543399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ACFD5E4-971A-471D-832E-D4DBA9047564}"/>
              </a:ext>
            </a:extLst>
          </p:cNvPr>
          <p:cNvSpPr/>
          <p:nvPr userDrawn="1"/>
        </p:nvSpPr>
        <p:spPr>
          <a:xfrm>
            <a:off x="0" y="0"/>
            <a:ext cx="5158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7BF642A-96D7-415C-97DB-A4A785101913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78C782F8-BDF9-45F3-9180-48A839D0C13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087139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blau I blue I with navigatio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91C214A2-ABAA-4BC9-ABDD-EC3593D15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08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91C214A2-ABAA-4BC9-ABDD-EC3593D15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>
            <a:extLst>
              <a:ext uri="{FF2B5EF4-FFF2-40B4-BE49-F238E27FC236}">
                <a16:creationId xmlns:a16="http://schemas.microsoft.com/office/drawing/2014/main" id="{07FA050F-401A-457A-96A7-59B0025F732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bg1"/>
              </a:solidFill>
            </a:endParaRPr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2399E5C5-9858-46BE-B0E2-14C044B4C619}"/>
              </a:ext>
            </a:extLst>
          </p:cNvPr>
          <p:cNvCxnSpPr>
            <a:cxnSpLocks/>
          </p:cNvCxnSpPr>
          <p:nvPr userDrawn="1"/>
        </p:nvCxnSpPr>
        <p:spPr>
          <a:xfrm>
            <a:off x="1346771" y="2996952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3">
            <a:extLst>
              <a:ext uri="{FF2B5EF4-FFF2-40B4-BE49-F238E27FC236}">
                <a16:creationId xmlns:a16="http://schemas.microsoft.com/office/drawing/2014/main" id="{8B6D002F-1E32-4938-AA5C-7C5FEBFFC259}"/>
              </a:ext>
            </a:extLst>
          </p:cNvPr>
          <p:cNvCxnSpPr>
            <a:cxnSpLocks/>
          </p:cNvCxnSpPr>
          <p:nvPr userDrawn="1"/>
        </p:nvCxnSpPr>
        <p:spPr>
          <a:xfrm>
            <a:off x="1346771" y="2144197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4">
            <a:extLst>
              <a:ext uri="{FF2B5EF4-FFF2-40B4-BE49-F238E27FC236}">
                <a16:creationId xmlns:a16="http://schemas.microsoft.com/office/drawing/2014/main" id="{C4EDA5E5-599F-49ED-AD4D-7961BDA1136F}"/>
              </a:ext>
            </a:extLst>
          </p:cNvPr>
          <p:cNvCxnSpPr>
            <a:cxnSpLocks/>
          </p:cNvCxnSpPr>
          <p:nvPr userDrawn="1"/>
        </p:nvCxnSpPr>
        <p:spPr>
          <a:xfrm>
            <a:off x="1346771" y="3839433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5">
            <a:extLst>
              <a:ext uri="{FF2B5EF4-FFF2-40B4-BE49-F238E27FC236}">
                <a16:creationId xmlns:a16="http://schemas.microsoft.com/office/drawing/2014/main" id="{131B35F5-5777-4E75-A269-DA2CB69F2F07}"/>
              </a:ext>
            </a:extLst>
          </p:cNvPr>
          <p:cNvCxnSpPr>
            <a:cxnSpLocks/>
          </p:cNvCxnSpPr>
          <p:nvPr userDrawn="1"/>
        </p:nvCxnSpPr>
        <p:spPr>
          <a:xfrm>
            <a:off x="1346771" y="4681914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26">
            <a:extLst>
              <a:ext uri="{FF2B5EF4-FFF2-40B4-BE49-F238E27FC236}">
                <a16:creationId xmlns:a16="http://schemas.microsoft.com/office/drawing/2014/main" id="{926D0002-A7EF-4A80-B36B-FC1217D18D25}"/>
              </a:ext>
            </a:extLst>
          </p:cNvPr>
          <p:cNvCxnSpPr>
            <a:cxnSpLocks/>
          </p:cNvCxnSpPr>
          <p:nvPr userDrawn="1"/>
        </p:nvCxnSpPr>
        <p:spPr>
          <a:xfrm>
            <a:off x="1346771" y="5524395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itel 1">
            <a:extLst>
              <a:ext uri="{FF2B5EF4-FFF2-40B4-BE49-F238E27FC236}">
                <a16:creationId xmlns:a16="http://schemas.microsoft.com/office/drawing/2014/main" id="{D00B63C5-2DC2-4553-9853-80EA029AA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237" y="301625"/>
            <a:ext cx="10671352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Überschrift 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1B48F726-5539-4300-9564-AFC05F0608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467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1A85DF99-7FB5-49EB-8756-5C0C2D8B245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3467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869C200E-5E86-49D4-A510-6B298BAA367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3467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EA72B6E1-F3C3-424A-B915-571BCBAFDB9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3467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785EA5DE-C2DD-42B5-ADDF-2636B4FFF8B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3467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638F9C6-9DA5-42E8-A0A1-8337F0E2192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3467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B05D3E05-F5E0-4ED0-932A-2EC26DE7038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364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1E00B092-C059-40BB-B48B-6C8B3CAA1BF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364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CC78C817-63AD-4600-B568-0926D82403D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364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2C1AD43-53D8-4231-B38C-BE4187AEBB58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364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5D15F187-69FA-4CA0-8A9D-D5F3EB14DDE8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64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FE744FE1-811A-4A05-B8A2-4CCFBE248F52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364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89B29A64-10E5-48B7-9334-F6A3B8E3B8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43" name="Rechteck 42">
            <a:extLst>
              <a:ext uri="{FF2B5EF4-FFF2-40B4-BE49-F238E27FC236}">
                <a16:creationId xmlns:a16="http://schemas.microsoft.com/office/drawing/2014/main" id="{14741E63-C9BC-4C7F-A9F7-42FB4B92329A}"/>
              </a:ext>
            </a:extLst>
          </p:cNvPr>
          <p:cNvSpPr/>
          <p:nvPr userDrawn="1"/>
        </p:nvSpPr>
        <p:spPr>
          <a:xfrm>
            <a:off x="0" y="0"/>
            <a:ext cx="524831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7101254C-4CB9-44C8-BC81-910793C9A6C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624" y="-2710"/>
            <a:ext cx="457200" cy="457200"/>
          </a:xfrm>
          <a:prstGeom prst="rect">
            <a:avLst/>
          </a:prstGeom>
        </p:spPr>
      </p:pic>
      <p:sp>
        <p:nvSpPr>
          <p:cNvPr id="51" name="Textplatzhalter 4">
            <a:extLst>
              <a:ext uri="{FF2B5EF4-FFF2-40B4-BE49-F238E27FC236}">
                <a16:creationId xmlns:a16="http://schemas.microsoft.com/office/drawing/2014/main" id="{15CAFD34-8545-49DF-9604-7184D15E19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7887" y="831428"/>
            <a:ext cx="10671353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bg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02067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sammenfassung I Summary with Navigatio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CD3FE672-C36D-4759-8ADD-079756E82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583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CD3FE672-C36D-4759-8ADD-079756E82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8">
            <a:extLst>
              <a:ext uri="{FF2B5EF4-FFF2-40B4-BE49-F238E27FC236}">
                <a16:creationId xmlns:a16="http://schemas.microsoft.com/office/drawing/2014/main" id="{D456E720-0D41-465C-B9F3-3BEA8BC60A69}"/>
              </a:ext>
            </a:extLst>
          </p:cNvPr>
          <p:cNvSpPr>
            <a:spLocks noChangeAspect="1"/>
          </p:cNvSpPr>
          <p:nvPr userDrawn="1"/>
        </p:nvSpPr>
        <p:spPr>
          <a:xfrm>
            <a:off x="709894" y="1673301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12" name="Oval 19">
            <a:extLst>
              <a:ext uri="{FF2B5EF4-FFF2-40B4-BE49-F238E27FC236}">
                <a16:creationId xmlns:a16="http://schemas.microsoft.com/office/drawing/2014/main" id="{02F84A11-C680-4559-92C9-C4DADC7443B6}"/>
              </a:ext>
            </a:extLst>
          </p:cNvPr>
          <p:cNvSpPr>
            <a:spLocks noChangeAspect="1"/>
          </p:cNvSpPr>
          <p:nvPr userDrawn="1"/>
        </p:nvSpPr>
        <p:spPr>
          <a:xfrm>
            <a:off x="709894" y="2651104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D1BE7CC5-C842-427F-A3DF-0DD439A72A72}"/>
              </a:ext>
            </a:extLst>
          </p:cNvPr>
          <p:cNvSpPr>
            <a:spLocks noChangeAspect="1"/>
          </p:cNvSpPr>
          <p:nvPr userDrawn="1"/>
        </p:nvSpPr>
        <p:spPr>
          <a:xfrm>
            <a:off x="709894" y="3628907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14" name="Oval 21">
            <a:extLst>
              <a:ext uri="{FF2B5EF4-FFF2-40B4-BE49-F238E27FC236}">
                <a16:creationId xmlns:a16="http://schemas.microsoft.com/office/drawing/2014/main" id="{516832BC-5EEF-4FA6-B62E-80067A4D3B34}"/>
              </a:ext>
            </a:extLst>
          </p:cNvPr>
          <p:cNvSpPr>
            <a:spLocks noChangeAspect="1"/>
          </p:cNvSpPr>
          <p:nvPr userDrawn="1"/>
        </p:nvSpPr>
        <p:spPr>
          <a:xfrm>
            <a:off x="709894" y="4606709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250CB09-D9AB-4DB2-9A31-BC55938C0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48449" y="1869851"/>
            <a:ext cx="10148887" cy="603927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3C6D208-16FF-F847-9C15-66E39DB973CF}"/>
              </a:ext>
            </a:extLst>
          </p:cNvPr>
          <p:cNvCxnSpPr>
            <a:cxnSpLocks/>
          </p:cNvCxnSpPr>
          <p:nvPr userDrawn="1"/>
        </p:nvCxnSpPr>
        <p:spPr>
          <a:xfrm>
            <a:off x="731838" y="24775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0A94B920-4C7D-F04F-8ED4-B99A92E9B63D}"/>
              </a:ext>
            </a:extLst>
          </p:cNvPr>
          <p:cNvCxnSpPr>
            <a:cxnSpLocks/>
          </p:cNvCxnSpPr>
          <p:nvPr userDrawn="1"/>
        </p:nvCxnSpPr>
        <p:spPr>
          <a:xfrm>
            <a:off x="731838" y="34681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225FC18E-B6D3-2A4A-B3BD-9ED73A401E01}"/>
              </a:ext>
            </a:extLst>
          </p:cNvPr>
          <p:cNvCxnSpPr>
            <a:cxnSpLocks/>
          </p:cNvCxnSpPr>
          <p:nvPr userDrawn="1"/>
        </p:nvCxnSpPr>
        <p:spPr>
          <a:xfrm>
            <a:off x="731838" y="44587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47A8053B-CEA0-2241-95F2-96A0D338FD1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548449" y="2850926"/>
            <a:ext cx="10148887" cy="627060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90B10DA-B978-BB43-BFBA-3F0D30174C1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548449" y="3832002"/>
            <a:ext cx="10148887" cy="633862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18">
            <a:extLst>
              <a:ext uri="{FF2B5EF4-FFF2-40B4-BE49-F238E27FC236}">
                <a16:creationId xmlns:a16="http://schemas.microsoft.com/office/drawing/2014/main" id="{5FA39501-E190-1440-B4D9-DA8B5D17C5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48449" y="4813077"/>
            <a:ext cx="10148887" cy="714144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D9B738F-77E8-E840-A281-42E14F72E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302134"/>
            <a:ext cx="11160125" cy="500764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A776F20-1502-9C4D-A2A8-38718A92D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1838" y="8060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625084BD-3639-43B9-A392-30E9272F1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0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F92C2CB0-2DC9-4180-AFBC-45F33CBA2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97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172807E7-CE0B-43AA-A5FC-1AC06B3175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255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877E6248-2D2C-4FE6-A650-9029041C30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998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649647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CD3FE672-C36D-4759-8ADD-079756E82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752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CD3FE672-C36D-4759-8ADD-079756E82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8">
            <a:extLst>
              <a:ext uri="{FF2B5EF4-FFF2-40B4-BE49-F238E27FC236}">
                <a16:creationId xmlns:a16="http://schemas.microsoft.com/office/drawing/2014/main" id="{D456E720-0D41-465C-B9F3-3BEA8BC60A69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1673301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12" name="Oval 19">
            <a:extLst>
              <a:ext uri="{FF2B5EF4-FFF2-40B4-BE49-F238E27FC236}">
                <a16:creationId xmlns:a16="http://schemas.microsoft.com/office/drawing/2014/main" id="{02F84A11-C680-4559-92C9-C4DADC7443B6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2651104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D1BE7CC5-C842-427F-A3DF-0DD439A72A72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3628907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14" name="Oval 21">
            <a:extLst>
              <a:ext uri="{FF2B5EF4-FFF2-40B4-BE49-F238E27FC236}">
                <a16:creationId xmlns:a16="http://schemas.microsoft.com/office/drawing/2014/main" id="{516832BC-5EEF-4FA6-B62E-80067A4D3B34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4606709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250CB09-D9AB-4DB2-9A31-BC55938C0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32549" y="1869851"/>
            <a:ext cx="10148887" cy="603927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3C6D208-16FF-F847-9C15-66E39DB973CF}"/>
              </a:ext>
            </a:extLst>
          </p:cNvPr>
          <p:cNvCxnSpPr>
            <a:cxnSpLocks/>
          </p:cNvCxnSpPr>
          <p:nvPr userDrawn="1"/>
        </p:nvCxnSpPr>
        <p:spPr>
          <a:xfrm>
            <a:off x="515938" y="24775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0A94B920-4C7D-F04F-8ED4-B99A92E9B63D}"/>
              </a:ext>
            </a:extLst>
          </p:cNvPr>
          <p:cNvCxnSpPr>
            <a:cxnSpLocks/>
          </p:cNvCxnSpPr>
          <p:nvPr userDrawn="1"/>
        </p:nvCxnSpPr>
        <p:spPr>
          <a:xfrm>
            <a:off x="515938" y="34681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225FC18E-B6D3-2A4A-B3BD-9ED73A401E01}"/>
              </a:ext>
            </a:extLst>
          </p:cNvPr>
          <p:cNvCxnSpPr>
            <a:cxnSpLocks/>
          </p:cNvCxnSpPr>
          <p:nvPr userDrawn="1"/>
        </p:nvCxnSpPr>
        <p:spPr>
          <a:xfrm>
            <a:off x="515938" y="44587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47A8053B-CEA0-2241-95F2-96A0D338FD1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32549" y="2850926"/>
            <a:ext cx="10148887" cy="627060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90B10DA-B978-BB43-BFBA-3F0D30174C1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32549" y="3832002"/>
            <a:ext cx="10148887" cy="633862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18">
            <a:extLst>
              <a:ext uri="{FF2B5EF4-FFF2-40B4-BE49-F238E27FC236}">
                <a16:creationId xmlns:a16="http://schemas.microsoft.com/office/drawing/2014/main" id="{5FA39501-E190-1440-B4D9-DA8B5D17C5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32549" y="4813077"/>
            <a:ext cx="10148887" cy="714144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D9B738F-77E8-E840-A281-42E14F72E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137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A776F20-1502-9C4D-A2A8-38718A92D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625084BD-3639-43B9-A392-30E9272F1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013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F92C2CB0-2DC9-4180-AFBC-45F33CBA2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19736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172807E7-CE0B-43AA-A5FC-1AC06B3175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25549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01CC9E7-6332-41B7-B518-2F5F81E2FB9E}"/>
              </a:ext>
            </a:extLst>
          </p:cNvPr>
          <p:cNvSpPr/>
          <p:nvPr userDrawn="1"/>
        </p:nvSpPr>
        <p:spPr>
          <a:xfrm>
            <a:off x="0" y="0"/>
            <a:ext cx="5158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120E9D7E-9FF6-498E-872F-F2D6759B0B7C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D37104E1-D533-4B74-8153-5BA9117959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933418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Person + Navigatio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A402BCF-5D9F-4C96-A3C2-F2123C278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80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A402BCF-5D9F-4C96-A3C2-F2123C278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Hauptpforte">
            <a:extLst>
              <a:ext uri="{FF2B5EF4-FFF2-40B4-BE49-F238E27FC236}">
                <a16:creationId xmlns:a16="http://schemas.microsoft.com/office/drawing/2014/main" id="{59C8F3FD-7F92-4917-B8DB-227416FB996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10"/>
          <a:stretch/>
        </p:blipFill>
        <p:spPr>
          <a:xfrm>
            <a:off x="484572" y="0"/>
            <a:ext cx="11791005" cy="6857142"/>
          </a:xfrm>
          <a:prstGeom prst="rect">
            <a:avLst/>
          </a:prstGeom>
        </p:spPr>
      </p:pic>
      <p:sp>
        <p:nvSpPr>
          <p:cNvPr id="43" name="Titel 4">
            <a:extLst>
              <a:ext uri="{FF2B5EF4-FFF2-40B4-BE49-F238E27FC236}">
                <a16:creationId xmlns:a16="http://schemas.microsoft.com/office/drawing/2014/main" id="{BFA8E39B-4C5B-3D4A-AF8A-5AADDA5359E8}"/>
              </a:ext>
            </a:extLst>
          </p:cNvPr>
          <p:cNvSpPr txBox="1">
            <a:spLocks/>
          </p:cNvSpPr>
          <p:nvPr userDrawn="1"/>
        </p:nvSpPr>
        <p:spPr>
          <a:xfrm>
            <a:off x="109328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trumpf.com</a:t>
            </a:r>
          </a:p>
        </p:txBody>
      </p:sp>
      <p:sp>
        <p:nvSpPr>
          <p:cNvPr id="17" name="Titel 4">
            <a:extLst>
              <a:ext uri="{FF2B5EF4-FFF2-40B4-BE49-F238E27FC236}">
                <a16:creationId xmlns:a16="http://schemas.microsoft.com/office/drawing/2014/main" id="{6DE05847-1D1C-AD45-BF7B-62095C961024}"/>
              </a:ext>
            </a:extLst>
          </p:cNvPr>
          <p:cNvSpPr txBox="1">
            <a:spLocks/>
          </p:cNvSpPr>
          <p:nvPr userDrawn="1"/>
        </p:nvSpPr>
        <p:spPr>
          <a:xfrm>
            <a:off x="109328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trumpf.com</a:t>
            </a:r>
          </a:p>
        </p:txBody>
      </p:sp>
      <p:sp>
        <p:nvSpPr>
          <p:cNvPr id="3" name="Rechteck 2">
            <a:hlinkClick r:id="rId7"/>
            <a:extLst>
              <a:ext uri="{FF2B5EF4-FFF2-40B4-BE49-F238E27FC236}">
                <a16:creationId xmlns:a16="http://schemas.microsoft.com/office/drawing/2014/main" id="{88DEFA8D-11AD-43D7-81A8-A04C9B309035}"/>
              </a:ext>
            </a:extLst>
          </p:cNvPr>
          <p:cNvSpPr/>
          <p:nvPr userDrawn="1"/>
        </p:nvSpPr>
        <p:spPr>
          <a:xfrm>
            <a:off x="1017491" y="6481387"/>
            <a:ext cx="1286693" cy="2188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7454BF-EFE9-4D32-B40B-6CB426D0892D}"/>
              </a:ext>
            </a:extLst>
          </p:cNvPr>
          <p:cNvSpPr/>
          <p:nvPr userDrawn="1"/>
        </p:nvSpPr>
        <p:spPr>
          <a:xfrm>
            <a:off x="495567" y="3381979"/>
            <a:ext cx="4619412" cy="267338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6" name="Titel 4">
            <a:extLst>
              <a:ext uri="{FF2B5EF4-FFF2-40B4-BE49-F238E27FC236}">
                <a16:creationId xmlns:a16="http://schemas.microsoft.com/office/drawing/2014/main" id="{8900B198-4BC5-4992-9590-4EC7E4488942}"/>
              </a:ext>
            </a:extLst>
          </p:cNvPr>
          <p:cNvSpPr txBox="1">
            <a:spLocks/>
          </p:cNvSpPr>
          <p:nvPr userDrawn="1"/>
        </p:nvSpPr>
        <p:spPr>
          <a:xfrm>
            <a:off x="1011504" y="4606370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Contact </a:t>
            </a:r>
            <a:r>
              <a:rPr lang="de-DE" sz="1200" err="1">
                <a:solidFill>
                  <a:srgbClr val="5F5F5F"/>
                </a:solidFill>
                <a:latin typeface="+mj-lt"/>
              </a:rPr>
              <a:t>person</a:t>
            </a:r>
            <a:endParaRPr lang="de-DE" sz="1200">
              <a:solidFill>
                <a:srgbClr val="5F5F5F"/>
              </a:solidFill>
              <a:latin typeface="+mj-lt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0480531F-CE14-41E8-ABDC-F65C77E10812}"/>
              </a:ext>
            </a:extLst>
          </p:cNvPr>
          <p:cNvSpPr txBox="1">
            <a:spLocks/>
          </p:cNvSpPr>
          <p:nvPr userDrawn="1"/>
        </p:nvSpPr>
        <p:spPr>
          <a:xfrm>
            <a:off x="1011504" y="3650039"/>
            <a:ext cx="3611394" cy="657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6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5775632C-2EF6-4024-9E10-57D1617260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4399" y="4800441"/>
            <a:ext cx="3504528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CA6D8CD4-3286-4C02-93B8-F346C53385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4399" y="5063247"/>
            <a:ext cx="3504528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epartmen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FBFA8D3-2F09-43EA-8AD3-AA25F25B3EE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4399" y="5334519"/>
            <a:ext cx="3504528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hone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F3A13D1B-683E-4F35-9510-531F4EAD19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4399" y="5605792"/>
            <a:ext cx="3504528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e-mail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AB8FD2C-16E8-4A02-9641-FFA22C12E0A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312E1E13-9462-40C1-B5E2-7E89530A68D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4708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8A5C4-6BDB-4ACF-8BA9-7078118229D4}" type="datetime1">
              <a:rPr lang="de-DE"/>
              <a:pPr/>
              <a:t>19.04.2023</a:t>
            </a:fld>
            <a:r>
              <a:rPr lang="de-DE"/>
              <a:t> I</a:t>
            </a:r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E-Mailadresse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5F8B5E-BAEE-4272-BFB9-76547CD0A1EE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92F36512-72B2-40A8-ABED-AC5B9E7752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9951D1C-41C1-4A14-B909-58F37F9420E8}"/>
              </a:ext>
            </a:extLst>
          </p:cNvPr>
          <p:cNvGrpSpPr/>
          <p:nvPr userDrawn="1"/>
        </p:nvGrpSpPr>
        <p:grpSpPr>
          <a:xfrm>
            <a:off x="496888" y="3304977"/>
            <a:ext cx="625992" cy="600256"/>
            <a:chOff x="11143231" y="5812561"/>
            <a:chExt cx="793338" cy="793338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B5961B7A-C513-464D-B932-3CA2450ACF6B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F01AA708-F368-4EB0-ADF2-8C63243BF6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6337948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8A5C4-6BDB-4ACF-8BA9-7078118229D4}" type="datetime1">
              <a:rPr lang="de-DE"/>
              <a:pPr/>
              <a:t>19.04.2023</a:t>
            </a:fld>
            <a:r>
              <a:rPr lang="de-DE"/>
              <a:t> I</a:t>
            </a:r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2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hone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E-mail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D2E3F4-DBF2-4F4A-BCB0-FD0BF8ED6F86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2394411-1F8B-4EA4-B87E-90B0E20971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621EF4D-0771-4F49-AB73-A397AB93F78A}"/>
              </a:ext>
            </a:extLst>
          </p:cNvPr>
          <p:cNvGrpSpPr/>
          <p:nvPr userDrawn="1"/>
        </p:nvGrpSpPr>
        <p:grpSpPr>
          <a:xfrm>
            <a:off x="496888" y="3304977"/>
            <a:ext cx="625992" cy="600256"/>
            <a:chOff x="11143231" y="5812561"/>
            <a:chExt cx="793338" cy="79333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42A3D89-BD99-4048-8459-10A5D65A6094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F379F57-479A-41E5-BDAD-7B82B8252D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1651865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_TRUMPF_blauer_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5F6AC04-030C-4BCC-A3A7-AF1039A13B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F658E4F-D12E-437B-B35C-B0AD07E48E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</p:spPr>
        <p:txBody>
          <a:bodyPr anchor="t"/>
          <a:lstStyle>
            <a:lvl1pPr algn="ctr">
              <a:defRPr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5AB8D3-879C-4A4F-950C-90B94A02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266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5AB8D3-879C-4A4F-950C-90B94A02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381979"/>
            <a:ext cx="4619412" cy="267338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06370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3650039"/>
            <a:ext cx="3611394" cy="657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5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893095"/>
            <a:ext cx="3389024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130502"/>
            <a:ext cx="3389024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367909"/>
            <a:ext cx="3389024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605313"/>
            <a:ext cx="3389024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E-Mailadress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3BE164E-FB64-44FF-B0D4-1EA73DFF538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20061" y="6083341"/>
            <a:ext cx="520896" cy="52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9269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blau I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91C214A2-ABAA-4BC9-ABDD-EC3593D15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98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91C214A2-ABAA-4BC9-ABDD-EC3593D15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>
            <a:extLst>
              <a:ext uri="{FF2B5EF4-FFF2-40B4-BE49-F238E27FC236}">
                <a16:creationId xmlns:a16="http://schemas.microsoft.com/office/drawing/2014/main" id="{07FA050F-401A-457A-96A7-59B0025F732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bg1"/>
              </a:solidFill>
            </a:endParaRPr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2399E5C5-9858-46BE-B0E2-14C044B4C619}"/>
              </a:ext>
            </a:extLst>
          </p:cNvPr>
          <p:cNvCxnSpPr>
            <a:cxnSpLocks/>
          </p:cNvCxnSpPr>
          <p:nvPr userDrawn="1"/>
        </p:nvCxnSpPr>
        <p:spPr>
          <a:xfrm>
            <a:off x="1346771" y="2996952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3">
            <a:extLst>
              <a:ext uri="{FF2B5EF4-FFF2-40B4-BE49-F238E27FC236}">
                <a16:creationId xmlns:a16="http://schemas.microsoft.com/office/drawing/2014/main" id="{8B6D002F-1E32-4938-AA5C-7C5FEBFFC259}"/>
              </a:ext>
            </a:extLst>
          </p:cNvPr>
          <p:cNvCxnSpPr>
            <a:cxnSpLocks/>
          </p:cNvCxnSpPr>
          <p:nvPr userDrawn="1"/>
        </p:nvCxnSpPr>
        <p:spPr>
          <a:xfrm>
            <a:off x="1346771" y="2144197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4">
            <a:extLst>
              <a:ext uri="{FF2B5EF4-FFF2-40B4-BE49-F238E27FC236}">
                <a16:creationId xmlns:a16="http://schemas.microsoft.com/office/drawing/2014/main" id="{C4EDA5E5-599F-49ED-AD4D-7961BDA1136F}"/>
              </a:ext>
            </a:extLst>
          </p:cNvPr>
          <p:cNvCxnSpPr>
            <a:cxnSpLocks/>
          </p:cNvCxnSpPr>
          <p:nvPr userDrawn="1"/>
        </p:nvCxnSpPr>
        <p:spPr>
          <a:xfrm>
            <a:off x="1346771" y="3839433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5">
            <a:extLst>
              <a:ext uri="{FF2B5EF4-FFF2-40B4-BE49-F238E27FC236}">
                <a16:creationId xmlns:a16="http://schemas.microsoft.com/office/drawing/2014/main" id="{131B35F5-5777-4E75-A269-DA2CB69F2F07}"/>
              </a:ext>
            </a:extLst>
          </p:cNvPr>
          <p:cNvCxnSpPr>
            <a:cxnSpLocks/>
          </p:cNvCxnSpPr>
          <p:nvPr userDrawn="1"/>
        </p:nvCxnSpPr>
        <p:spPr>
          <a:xfrm>
            <a:off x="1346771" y="4681914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26">
            <a:extLst>
              <a:ext uri="{FF2B5EF4-FFF2-40B4-BE49-F238E27FC236}">
                <a16:creationId xmlns:a16="http://schemas.microsoft.com/office/drawing/2014/main" id="{926D0002-A7EF-4A80-B36B-FC1217D18D25}"/>
              </a:ext>
            </a:extLst>
          </p:cNvPr>
          <p:cNvCxnSpPr>
            <a:cxnSpLocks/>
          </p:cNvCxnSpPr>
          <p:nvPr userDrawn="1"/>
        </p:nvCxnSpPr>
        <p:spPr>
          <a:xfrm>
            <a:off x="1346771" y="5524395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itel 1">
            <a:extLst>
              <a:ext uri="{FF2B5EF4-FFF2-40B4-BE49-F238E27FC236}">
                <a16:creationId xmlns:a16="http://schemas.microsoft.com/office/drawing/2014/main" id="{D00B63C5-2DC2-4553-9853-80EA029AA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732" y="301625"/>
            <a:ext cx="10707267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1B48F726-5539-4300-9564-AFC05F0608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467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1A85DF99-7FB5-49EB-8756-5C0C2D8B245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3467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869C200E-5E86-49D4-A510-6B298BAA367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3467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EA72B6E1-F3C3-424A-B915-571BCBAFDB9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3467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785EA5DE-C2DD-42B5-ADDF-2636B4FFF8B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3467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638F9C6-9DA5-42E8-A0A1-8337F0E2192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3467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B05D3E05-F5E0-4ED0-932A-2EC26DE7038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364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1E00B092-C059-40BB-B48B-6C8B3CAA1BF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364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CC78C817-63AD-4600-B568-0926D82403D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364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2C1AD43-53D8-4231-B38C-BE4187AEBB58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364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5D15F187-69FA-4CA0-8A9D-D5F3EB14DDE8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64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FE744FE1-811A-4A05-B8A2-4CCFBE248F52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364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89B29A64-10E5-48B7-9334-F6A3B8E3B8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286021E2-4F68-490D-BACE-745BE3EFB5F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9012" y="831428"/>
            <a:ext cx="10710988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bg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339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weiß mit Navigationsleiste I white with navigatio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ECF010C-6DD0-48A9-A83A-1BFC908C92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08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ECF010C-6DD0-48A9-A83A-1BFC908C92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4B6B9AD3-3F00-7D4E-B5FC-C5719D0DD80D}"/>
              </a:ext>
            </a:extLst>
          </p:cNvPr>
          <p:cNvCxnSpPr>
            <a:cxnSpLocks/>
          </p:cNvCxnSpPr>
          <p:nvPr userDrawn="1"/>
        </p:nvCxnSpPr>
        <p:spPr>
          <a:xfrm>
            <a:off x="1346771" y="2996952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CAB67B07-7D49-6C44-A17D-F74342B5E325}"/>
              </a:ext>
            </a:extLst>
          </p:cNvPr>
          <p:cNvCxnSpPr>
            <a:cxnSpLocks/>
          </p:cNvCxnSpPr>
          <p:nvPr userDrawn="1"/>
        </p:nvCxnSpPr>
        <p:spPr>
          <a:xfrm>
            <a:off x="1346771" y="2144197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AC010830-86B9-C64C-B1BC-C9FB62472E5D}"/>
              </a:ext>
            </a:extLst>
          </p:cNvPr>
          <p:cNvCxnSpPr>
            <a:cxnSpLocks/>
          </p:cNvCxnSpPr>
          <p:nvPr userDrawn="1"/>
        </p:nvCxnSpPr>
        <p:spPr>
          <a:xfrm>
            <a:off x="1346771" y="3839433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C848782-2386-A041-9A46-07911EBFE5AC}"/>
              </a:ext>
            </a:extLst>
          </p:cNvPr>
          <p:cNvCxnSpPr>
            <a:cxnSpLocks/>
          </p:cNvCxnSpPr>
          <p:nvPr userDrawn="1"/>
        </p:nvCxnSpPr>
        <p:spPr>
          <a:xfrm>
            <a:off x="1346771" y="4681914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8A25F60-4875-8645-9A90-72BA1FBE9B78}"/>
              </a:ext>
            </a:extLst>
          </p:cNvPr>
          <p:cNvCxnSpPr>
            <a:cxnSpLocks/>
          </p:cNvCxnSpPr>
          <p:nvPr userDrawn="1"/>
        </p:nvCxnSpPr>
        <p:spPr>
          <a:xfrm>
            <a:off x="1346771" y="5524395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itel 1">
            <a:extLst>
              <a:ext uri="{FF2B5EF4-FFF2-40B4-BE49-F238E27FC236}">
                <a16:creationId xmlns:a16="http://schemas.microsoft.com/office/drawing/2014/main" id="{18521BE8-5909-1341-83B4-0E41D352A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237" y="301625"/>
            <a:ext cx="10671352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BD77588C-69B2-C641-B092-19A59DCE8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467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434AE1E-29E2-5449-B088-AD3C8F02F63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3467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2629D5EB-E950-7E4D-9619-A2528E5D57C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3467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80CA97F6-28AB-6948-B250-0DF39A5564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3467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3C075969-5560-8F46-A28E-3E50D8BA489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3467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D8E69C90-061D-B34A-B3D1-27875EF910D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3467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7FA608A6-6269-AB45-A0B6-11A8BB5290C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364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F6AB0AC-AE16-9D4D-BBB6-06F3D5F02E4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364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6EE836E5-E80F-9748-9397-905CF65A4B2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364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A66093A6-6BF6-214C-9306-E65A166AD68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364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14BDD226-D431-6844-922C-D686D5852AD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64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7C98DAB-F31D-B54E-BC3E-72C09025DF9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364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23B5B1DB-3570-4D87-B7B9-BDB29D0BD12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22E3B057-5CC6-4219-8019-B1C478AEAA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9012" y="841053"/>
            <a:ext cx="10709577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337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eiß I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7BB0C71-6E8C-4D5D-959D-666E5584B9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046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7BB0C71-6E8C-4D5D-959D-666E5584B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>
            <a:extLst>
              <a:ext uri="{FF2B5EF4-FFF2-40B4-BE49-F238E27FC236}">
                <a16:creationId xmlns:a16="http://schemas.microsoft.com/office/drawing/2014/main" id="{8CEF7545-4EE6-48F2-8464-66C512646B77}"/>
              </a:ext>
            </a:extLst>
          </p:cNvPr>
          <p:cNvSpPr/>
          <p:nvPr userDrawn="1"/>
        </p:nvSpPr>
        <p:spPr>
          <a:xfrm>
            <a:off x="0" y="0"/>
            <a:ext cx="524831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4B6B9AD3-3F00-7D4E-B5FC-C5719D0DD80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996952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CAB67B07-7D49-6C44-A17D-F74342B5E325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144197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AC010830-86B9-C64C-B1BC-C9FB62472E5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3839433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C848782-2386-A041-9A46-07911EBFE5AC}"/>
              </a:ext>
            </a:extLst>
          </p:cNvPr>
          <p:cNvCxnSpPr>
            <a:cxnSpLocks/>
          </p:cNvCxnSpPr>
          <p:nvPr userDrawn="1"/>
        </p:nvCxnSpPr>
        <p:spPr>
          <a:xfrm>
            <a:off x="1105471" y="4681914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8A25F60-4875-8645-9A90-72BA1FBE9B78}"/>
              </a:ext>
            </a:extLst>
          </p:cNvPr>
          <p:cNvCxnSpPr>
            <a:cxnSpLocks/>
          </p:cNvCxnSpPr>
          <p:nvPr userDrawn="1"/>
        </p:nvCxnSpPr>
        <p:spPr>
          <a:xfrm>
            <a:off x="1105471" y="5524395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itel 1">
            <a:extLst>
              <a:ext uri="{FF2B5EF4-FFF2-40B4-BE49-F238E27FC236}">
                <a16:creationId xmlns:a16="http://schemas.microsoft.com/office/drawing/2014/main" id="{18521BE8-5909-1341-83B4-0E41D352A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01625"/>
            <a:ext cx="10515600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BD77588C-69B2-C641-B092-19A59DCE8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434AE1E-29E2-5449-B088-AD3C8F02F63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054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2629D5EB-E950-7E4D-9619-A2528E5D57C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1054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80CA97F6-28AB-6948-B250-0DF39A5564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1054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3C075969-5560-8F46-A28E-3E50D8BA489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1054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D8E69C90-061D-B34A-B3D1-27875EF910D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1054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7FA608A6-6269-AB45-A0B6-11A8BB5290C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951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F6AB0AC-AE16-9D4D-BBB6-06F3D5F02E4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951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6EE836E5-E80F-9748-9397-905CF65A4B2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951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A66093A6-6BF6-214C-9306-E65A166AD68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951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14BDD226-D431-6844-922C-D686D5852AD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1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7C98DAB-F31D-B54E-BC3E-72C09025DF9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951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45605A5-C60C-4379-8BEF-A4238D09E793}"/>
              </a:ext>
            </a:extLst>
          </p:cNvPr>
          <p:cNvSpPr/>
          <p:nvPr userDrawn="1"/>
        </p:nvSpPr>
        <p:spPr>
          <a:xfrm>
            <a:off x="11887475" y="4494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BC8A12AD-9834-47CF-AD23-ADD2A23D4AD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2338" y="0"/>
            <a:ext cx="328768" cy="328768"/>
          </a:xfrm>
          <a:prstGeom prst="rect">
            <a:avLst/>
          </a:prstGeom>
        </p:spPr>
      </p:pic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3971342B-71BA-44F3-B6B1-BE15BFD7EF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4831" y="850678"/>
            <a:ext cx="10506707" cy="48292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5314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3190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9138" y="1483200"/>
            <a:ext cx="10956925" cy="4345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Mastertextformat bearbeiten I 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91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998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056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CA9C2964-0719-47E8-B997-EB6B1C4FE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012" y="302134"/>
            <a:ext cx="10957051" cy="457200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57353778-6374-4EA7-B04D-325A62A573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012" y="806028"/>
            <a:ext cx="10956925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EDA6029-50D5-4E56-8B50-13528E1FAE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372" y="-271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54166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9023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3726" y="1483200"/>
            <a:ext cx="11142338" cy="4345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Mastertextformat bearbeiten I 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67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355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474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lang="de-DE" sz="1000" b="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32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9A4FC-76FE-4B52-A6BC-C4A9405F94A9}" type="datetime1">
              <a:rPr lang="de-DE"/>
              <a:pPr/>
              <a:t>19.04.2023</a:t>
            </a:fld>
            <a:endParaRPr lang="de-DE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CA9C2964-0719-47E8-B997-EB6B1C4FE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00" y="302134"/>
            <a:ext cx="11142463" cy="362372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57353778-6374-4EA7-B04D-325A62A573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600" y="767928"/>
            <a:ext cx="11142337" cy="362372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801251-1471-4E4D-982B-9AC3E82160AB}"/>
              </a:ext>
            </a:extLst>
          </p:cNvPr>
          <p:cNvSpPr/>
          <p:nvPr userDrawn="1"/>
        </p:nvSpPr>
        <p:spPr>
          <a:xfrm>
            <a:off x="0" y="0"/>
            <a:ext cx="5207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05E8F89D-3CD6-4D71-8152-35935BC14C86}"/>
              </a:ext>
            </a:extLst>
          </p:cNvPr>
          <p:cNvSpPr/>
          <p:nvPr userDrawn="1"/>
        </p:nvSpPr>
        <p:spPr>
          <a:xfrm>
            <a:off x="11878849" y="-4132"/>
            <a:ext cx="318494" cy="319780"/>
          </a:xfrm>
          <a:prstGeom prst="rect">
            <a:avLst/>
          </a:prstGeom>
          <a:solidFill>
            <a:srgbClr val="285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59AD876-6042-43AC-9D99-0916C24D3A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73712" y="-8626"/>
            <a:ext cx="328768" cy="32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432867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600754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9" imgW="353" imgH="353" progId="TCLayout.ActiveDocument.1">
                  <p:embed/>
                </p:oleObj>
              </mc:Choice>
              <mc:Fallback>
                <p:oleObj name="think-cell Folie" r:id="rId49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517" y="305920"/>
            <a:ext cx="10960446" cy="4494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5617" y="1483200"/>
            <a:ext cx="10960446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50553-F986-E441-A5BD-871CFC0817DE}"/>
              </a:ext>
            </a:extLst>
          </p:cNvPr>
          <p:cNvPicPr>
            <a:picLocks noChangeAspect="1"/>
          </p:cNvPicPr>
          <p:nvPr userDrawn="1"/>
        </p:nvPicPr>
        <p:blipFill>
          <a:blip r:embed="rId51"/>
          <a:stretch>
            <a:fillRect/>
          </a:stretch>
        </p:blipFill>
        <p:spPr>
          <a:xfrm>
            <a:off x="11459963" y="6137318"/>
            <a:ext cx="432000" cy="432000"/>
          </a:xfrm>
          <a:prstGeom prst="rect">
            <a:avLst/>
          </a:prstGeom>
        </p:spPr>
      </p:pic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/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EFCC76F-4750-4971-A449-84D3708DA1C5}"/>
              </a:ext>
            </a:extLst>
          </p:cNvPr>
          <p:cNvSpPr/>
          <p:nvPr userDrawn="1"/>
        </p:nvSpPr>
        <p:spPr>
          <a:xfrm>
            <a:off x="0" y="0"/>
            <a:ext cx="5159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379798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704" r:id="rId2"/>
    <p:sldLayoutId id="2147483708" r:id="rId3"/>
    <p:sldLayoutId id="2147483703" r:id="rId4"/>
    <p:sldLayoutId id="2147483750" r:id="rId5"/>
    <p:sldLayoutId id="2147483749" r:id="rId6"/>
    <p:sldLayoutId id="2147483713" r:id="rId7"/>
    <p:sldLayoutId id="2147483710" r:id="rId8"/>
    <p:sldLayoutId id="2147483751" r:id="rId9"/>
    <p:sldLayoutId id="2147483711" r:id="rId10"/>
    <p:sldLayoutId id="2147483712" r:id="rId11"/>
    <p:sldLayoutId id="2147483714" r:id="rId12"/>
    <p:sldLayoutId id="2147483715" r:id="rId13"/>
    <p:sldLayoutId id="2147483737" r:id="rId14"/>
    <p:sldLayoutId id="2147483716" r:id="rId15"/>
    <p:sldLayoutId id="2147483717" r:id="rId16"/>
    <p:sldLayoutId id="2147483739" r:id="rId17"/>
    <p:sldLayoutId id="2147483718" r:id="rId18"/>
    <p:sldLayoutId id="2147483719" r:id="rId19"/>
    <p:sldLayoutId id="2147483740" r:id="rId20"/>
    <p:sldLayoutId id="2147483720" r:id="rId21"/>
    <p:sldLayoutId id="2147483721" r:id="rId22"/>
    <p:sldLayoutId id="2147483741" r:id="rId23"/>
    <p:sldLayoutId id="2147483722" r:id="rId24"/>
    <p:sldLayoutId id="2147483742" r:id="rId25"/>
    <p:sldLayoutId id="2147483723" r:id="rId26"/>
    <p:sldLayoutId id="2147483724" r:id="rId27"/>
    <p:sldLayoutId id="2147483725" r:id="rId28"/>
    <p:sldLayoutId id="2147483726" r:id="rId29"/>
    <p:sldLayoutId id="2147483738" r:id="rId30"/>
    <p:sldLayoutId id="2147483727" r:id="rId31"/>
    <p:sldLayoutId id="2147483743" r:id="rId32"/>
    <p:sldLayoutId id="2147483728" r:id="rId33"/>
    <p:sldLayoutId id="2147483729" r:id="rId34"/>
    <p:sldLayoutId id="2147483730" r:id="rId35"/>
    <p:sldLayoutId id="2147483744" r:id="rId36"/>
    <p:sldLayoutId id="2147483731" r:id="rId37"/>
    <p:sldLayoutId id="2147483745" r:id="rId38"/>
    <p:sldLayoutId id="2147483746" r:id="rId39"/>
    <p:sldLayoutId id="2147483733" r:id="rId40"/>
    <p:sldLayoutId id="2147483747" r:id="rId41"/>
    <p:sldLayoutId id="2147483748" r:id="rId42"/>
    <p:sldLayoutId id="2147483752" r:id="rId43"/>
    <p:sldLayoutId id="2147483753" r:id="rId44"/>
    <p:sldLayoutId id="2147483736" r:id="rId45"/>
  </p:sldLayoutIdLst>
  <p:hf sldNum="0"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  <p15:guide id="4" pos="7491" userDrawn="1">
          <p15:clr>
            <a:srgbClr val="F26B43"/>
          </p15:clr>
        </p15:guide>
        <p15:guide id="6" pos="453" userDrawn="1">
          <p15:clr>
            <a:srgbClr val="F26B43"/>
          </p15:clr>
        </p15:guide>
        <p15:guide id="7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pos="7355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2" orient="horz" pos="36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81.xml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184.xml"/><Relationship Id="rId7" Type="http://schemas.openxmlformats.org/officeDocument/2006/relationships/image" Target="../media/image43.png"/><Relationship Id="rId12" Type="http://schemas.openxmlformats.org/officeDocument/2006/relationships/image" Target="../media/image48.svg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notesSlide" Target="../notesSlides/notesSlide11.xml"/><Relationship Id="rId11" Type="http://schemas.openxmlformats.org/officeDocument/2006/relationships/image" Target="../media/image47.pn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46.svg"/><Relationship Id="rId4" Type="http://schemas.openxmlformats.org/officeDocument/2006/relationships/tags" Target="../tags/tag185.xml"/><Relationship Id="rId9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17" Type="http://schemas.openxmlformats.org/officeDocument/2006/relationships/image" Target="../media/image27.sv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26.png"/><Relationship Id="rId1" Type="http://schemas.openxmlformats.org/officeDocument/2006/relationships/tags" Target="../tags/tag51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4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26" Type="http://schemas.openxmlformats.org/officeDocument/2006/relationships/tags" Target="../tags/tag77.xml"/><Relationship Id="rId3" Type="http://schemas.openxmlformats.org/officeDocument/2006/relationships/tags" Target="../tags/tag54.xml"/><Relationship Id="rId21" Type="http://schemas.openxmlformats.org/officeDocument/2006/relationships/tags" Target="../tags/tag72.xml"/><Relationship Id="rId34" Type="http://schemas.openxmlformats.org/officeDocument/2006/relationships/image" Target="../media/image14.emf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5" Type="http://schemas.openxmlformats.org/officeDocument/2006/relationships/tags" Target="../tags/tag76.xml"/><Relationship Id="rId33" Type="http://schemas.openxmlformats.org/officeDocument/2006/relationships/oleObject" Target="../embeddings/oleObject46.bin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29" Type="http://schemas.openxmlformats.org/officeDocument/2006/relationships/tags" Target="../tags/tag80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tags" Target="../tags/tag75.xml"/><Relationship Id="rId32" Type="http://schemas.openxmlformats.org/officeDocument/2006/relationships/notesSlide" Target="../notesSlides/notesSlide3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tags" Target="../tags/tag74.xml"/><Relationship Id="rId28" Type="http://schemas.openxmlformats.org/officeDocument/2006/relationships/tags" Target="../tags/tag79.xml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31" Type="http://schemas.openxmlformats.org/officeDocument/2006/relationships/slideLayout" Target="../slideLayouts/slideLayout10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tags" Target="../tags/tag73.xml"/><Relationship Id="rId27" Type="http://schemas.openxmlformats.org/officeDocument/2006/relationships/tags" Target="../tags/tag78.xml"/><Relationship Id="rId30" Type="http://schemas.openxmlformats.org/officeDocument/2006/relationships/tags" Target="../tags/tag81.xml"/><Relationship Id="rId35" Type="http://schemas.openxmlformats.org/officeDocument/2006/relationships/chart" Target="../charts/chart1.xml"/><Relationship Id="rId8" Type="http://schemas.openxmlformats.org/officeDocument/2006/relationships/tags" Target="../tags/tag59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21" Type="http://schemas.openxmlformats.org/officeDocument/2006/relationships/tags" Target="../tags/tag102.xml"/><Relationship Id="rId34" Type="http://schemas.openxmlformats.org/officeDocument/2006/relationships/notesSlide" Target="../notesSlides/notesSlide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slideLayout" Target="../slideLayouts/slideLayout10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tags" Target="../tags/tag110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chart" Target="../charts/chart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image" Target="../media/image14.emf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tags" Target="../tags/tag112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oleObject" Target="../embeddings/oleObject47.bin"/><Relationship Id="rId8" Type="http://schemas.openxmlformats.org/officeDocument/2006/relationships/tags" Target="../tags/tag89.xml"/><Relationship Id="rId3" Type="http://schemas.openxmlformats.org/officeDocument/2006/relationships/tags" Target="../tags/tag84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26.xml"/><Relationship Id="rId18" Type="http://schemas.openxmlformats.org/officeDocument/2006/relationships/tags" Target="../tags/tag131.xml"/><Relationship Id="rId26" Type="http://schemas.openxmlformats.org/officeDocument/2006/relationships/tags" Target="../tags/tag139.xml"/><Relationship Id="rId21" Type="http://schemas.openxmlformats.org/officeDocument/2006/relationships/tags" Target="../tags/tag134.xml"/><Relationship Id="rId34" Type="http://schemas.openxmlformats.org/officeDocument/2006/relationships/slideLayout" Target="../slideLayouts/slideLayout10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tags" Target="../tags/tag130.xml"/><Relationship Id="rId25" Type="http://schemas.openxmlformats.org/officeDocument/2006/relationships/tags" Target="../tags/tag138.xml"/><Relationship Id="rId33" Type="http://schemas.openxmlformats.org/officeDocument/2006/relationships/tags" Target="../tags/tag146.xml"/><Relationship Id="rId38" Type="http://schemas.openxmlformats.org/officeDocument/2006/relationships/chart" Target="../charts/chart3.xml"/><Relationship Id="rId2" Type="http://schemas.openxmlformats.org/officeDocument/2006/relationships/tags" Target="../tags/tag115.xml"/><Relationship Id="rId16" Type="http://schemas.openxmlformats.org/officeDocument/2006/relationships/tags" Target="../tags/tag129.xml"/><Relationship Id="rId20" Type="http://schemas.openxmlformats.org/officeDocument/2006/relationships/tags" Target="../tags/tag133.xml"/><Relationship Id="rId29" Type="http://schemas.openxmlformats.org/officeDocument/2006/relationships/tags" Target="../tags/tag142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24" Type="http://schemas.openxmlformats.org/officeDocument/2006/relationships/tags" Target="../tags/tag137.xml"/><Relationship Id="rId32" Type="http://schemas.openxmlformats.org/officeDocument/2006/relationships/tags" Target="../tags/tag145.xml"/><Relationship Id="rId37" Type="http://schemas.openxmlformats.org/officeDocument/2006/relationships/image" Target="../media/image14.emf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23" Type="http://schemas.openxmlformats.org/officeDocument/2006/relationships/tags" Target="../tags/tag136.xml"/><Relationship Id="rId28" Type="http://schemas.openxmlformats.org/officeDocument/2006/relationships/tags" Target="../tags/tag141.xml"/><Relationship Id="rId36" Type="http://schemas.openxmlformats.org/officeDocument/2006/relationships/oleObject" Target="../embeddings/oleObject48.bin"/><Relationship Id="rId10" Type="http://schemas.openxmlformats.org/officeDocument/2006/relationships/tags" Target="../tags/tag123.xml"/><Relationship Id="rId19" Type="http://schemas.openxmlformats.org/officeDocument/2006/relationships/tags" Target="../tags/tag132.xml"/><Relationship Id="rId31" Type="http://schemas.openxmlformats.org/officeDocument/2006/relationships/tags" Target="../tags/tag144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tags" Target="../tags/tag135.xml"/><Relationship Id="rId27" Type="http://schemas.openxmlformats.org/officeDocument/2006/relationships/tags" Target="../tags/tag140.xml"/><Relationship Id="rId30" Type="http://schemas.openxmlformats.org/officeDocument/2006/relationships/tags" Target="../tags/tag143.xml"/><Relationship Id="rId35" Type="http://schemas.openxmlformats.org/officeDocument/2006/relationships/notesSlide" Target="../notesSlides/notesSlide5.xml"/><Relationship Id="rId8" Type="http://schemas.openxmlformats.org/officeDocument/2006/relationships/tags" Target="../tags/tag121.xml"/><Relationship Id="rId3" Type="http://schemas.openxmlformats.org/officeDocument/2006/relationships/tags" Target="../tags/tag1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image" Target="../media/image14.emf"/><Relationship Id="rId3" Type="http://schemas.openxmlformats.org/officeDocument/2006/relationships/tags" Target="../tags/tag149.xml"/><Relationship Id="rId21" Type="http://schemas.openxmlformats.org/officeDocument/2006/relationships/tags" Target="../tags/tag167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oleObject" Target="../embeddings/oleObject49.bin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23" Type="http://schemas.openxmlformats.org/officeDocument/2006/relationships/slideLayout" Target="../slideLayouts/slideLayout10.xml"/><Relationship Id="rId10" Type="http://schemas.openxmlformats.org/officeDocument/2006/relationships/tags" Target="../tags/tag156.xml"/><Relationship Id="rId19" Type="http://schemas.openxmlformats.org/officeDocument/2006/relationships/tags" Target="../tags/tag165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34.png"/><Relationship Id="rId18" Type="http://schemas.openxmlformats.org/officeDocument/2006/relationships/image" Target="../media/image39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17" Type="http://schemas.openxmlformats.org/officeDocument/2006/relationships/image" Target="../media/image38.png"/><Relationship Id="rId2" Type="http://schemas.openxmlformats.org/officeDocument/2006/relationships/tags" Target="../tags/tag170.xml"/><Relationship Id="rId16" Type="http://schemas.openxmlformats.org/officeDocument/2006/relationships/image" Target="../media/image37.svg"/><Relationship Id="rId1" Type="http://schemas.openxmlformats.org/officeDocument/2006/relationships/tags" Target="../tags/tag169.xml"/><Relationship Id="rId6" Type="http://schemas.openxmlformats.org/officeDocument/2006/relationships/image" Target="../media/image14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50.bin"/><Relationship Id="rId15" Type="http://schemas.openxmlformats.org/officeDocument/2006/relationships/image" Target="../media/image36.png"/><Relationship Id="rId10" Type="http://schemas.openxmlformats.org/officeDocument/2006/relationships/image" Target="../media/image31.svg"/><Relationship Id="rId19" Type="http://schemas.openxmlformats.org/officeDocument/2006/relationships/image" Target="../media/image40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41.png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176.xml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BE1257-1ED1-434E-44D1-631DCB8341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218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BE1257-1ED1-434E-44D1-631DCB834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86FF8445-D5FF-423F-B070-6822BC59EF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6807" y="4443935"/>
            <a:ext cx="4808597" cy="215444"/>
          </a:xfrm>
        </p:spPr>
        <p:txBody>
          <a:bodyPr/>
          <a:lstStyle/>
          <a:p>
            <a:r>
              <a:rPr lang="de-DE" dirty="0"/>
              <a:t>Lernreise 2023 – TRUMPF 26./27.04.2023 – Stapf &amp; Ziegler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946E87-3169-4D44-A65F-0D7AC0382B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Lean im Engpassmanagement</a:t>
            </a:r>
          </a:p>
        </p:txBody>
      </p:sp>
      <p:pic>
        <p:nvPicPr>
          <p:cNvPr id="16" name="Smart Factory" descr="Ein Bild, das draußen, Outdoorobjekt, Spinnennetz, Tag enthält.&#10;&#10;Automatisch generierte Beschreibung">
            <a:extLst>
              <a:ext uri="{FF2B5EF4-FFF2-40B4-BE49-F238E27FC236}">
                <a16:creationId xmlns:a16="http://schemas.microsoft.com/office/drawing/2014/main" id="{9238B342-AAA1-4F19-5B3F-391795DE08AC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2"/>
            </p:custDataLst>
          </p:nvPr>
        </p:nvPicPr>
        <p:blipFill>
          <a:blip r:embed="rId7"/>
          <a:srcRect t="16295" b="16295"/>
          <a:stretch>
            <a:fillRect/>
          </a:stretch>
        </p:blipFill>
        <p:spPr>
          <a:xfrm>
            <a:off x="565150" y="0"/>
            <a:ext cx="11626850" cy="6858000"/>
          </a:xfrm>
        </p:spPr>
      </p:pic>
    </p:spTree>
    <p:extLst>
      <p:ext uri="{BB962C8B-B14F-4D97-AF65-F5344CB8AC3E}">
        <p14:creationId xmlns:p14="http://schemas.microsoft.com/office/powerpoint/2010/main" val="3464748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8">
            <a:extLst>
              <a:ext uri="{FF2B5EF4-FFF2-40B4-BE49-F238E27FC236}">
                <a16:creationId xmlns:a16="http://schemas.microsoft.com/office/drawing/2014/main" id="{87390FE7-A7EE-D0CD-9997-3030327F40E3}"/>
              </a:ext>
            </a:extLst>
          </p:cNvPr>
          <p:cNvSpPr/>
          <p:nvPr/>
        </p:nvSpPr>
        <p:spPr>
          <a:xfrm>
            <a:off x="6937827" y="5109133"/>
            <a:ext cx="1008000" cy="1153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de-DE" sz="1100" dirty="0">
                <a:solidFill>
                  <a:schemeClr val="tx1"/>
                </a:solidFill>
              </a:rPr>
              <a:t>Anlage nach </a:t>
            </a:r>
            <a:r>
              <a:rPr lang="de-DE" sz="1100" b="1" dirty="0">
                <a:solidFill>
                  <a:schemeClr val="tx1"/>
                </a:solidFill>
              </a:rPr>
              <a:t>neu definier-</a:t>
            </a:r>
            <a:r>
              <a:rPr lang="de-DE" sz="1100" b="1" dirty="0" err="1">
                <a:solidFill>
                  <a:schemeClr val="tx1"/>
                </a:solidFill>
              </a:rPr>
              <a:t>tem</a:t>
            </a:r>
            <a:r>
              <a:rPr lang="de-DE" sz="1100" b="1" dirty="0">
                <a:solidFill>
                  <a:schemeClr val="tx1"/>
                </a:solidFill>
              </a:rPr>
              <a:t> Prozess </a:t>
            </a:r>
            <a:r>
              <a:rPr lang="de-DE" sz="1100" dirty="0">
                <a:solidFill>
                  <a:schemeClr val="tx1"/>
                </a:solidFill>
              </a:rPr>
              <a:t>(</a:t>
            </a:r>
            <a:r>
              <a:rPr lang="de-DE" sz="1100" dirty="0" err="1">
                <a:solidFill>
                  <a:schemeClr val="tx1"/>
                </a:solidFill>
              </a:rPr>
              <a:t>Kennzeich-nung</a:t>
            </a:r>
            <a:r>
              <a:rPr lang="de-DE" sz="1100" dirty="0">
                <a:solidFill>
                  <a:schemeClr val="tx1"/>
                </a:solidFill>
              </a:rPr>
              <a:t> temporärer Einsatz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73E4AE3-326C-6A40-D6CA-624E25E1634C}"/>
              </a:ext>
            </a:extLst>
          </p:cNvPr>
          <p:cNvSpPr/>
          <p:nvPr/>
        </p:nvSpPr>
        <p:spPr>
          <a:xfrm>
            <a:off x="924870" y="4304994"/>
            <a:ext cx="10702004" cy="7075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8DE04D5-9BBB-E91D-5CFA-7D0D08BF683F}"/>
              </a:ext>
            </a:extLst>
          </p:cNvPr>
          <p:cNvSpPr/>
          <p:nvPr/>
        </p:nvSpPr>
        <p:spPr>
          <a:xfrm>
            <a:off x="821943" y="4199838"/>
            <a:ext cx="10702004" cy="7075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8A3F7B5-0761-A2BE-324A-9E5151687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: Einführung alternativer Bauteile </a:t>
            </a:r>
            <a:r>
              <a:rPr lang="de-DE" sz="1800" dirty="0"/>
              <a:t>(vereinfachte Darstellung) 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EDC2E00-E721-366C-D597-169224428C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Verschwendung (warten) minimieren – Voraussetzung: Kooperation der Lieferanten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775F8661-0E9A-9214-1D85-A8B6C574400B}"/>
              </a:ext>
            </a:extLst>
          </p:cNvPr>
          <p:cNvGrpSpPr/>
          <p:nvPr/>
        </p:nvGrpSpPr>
        <p:grpSpPr>
          <a:xfrm>
            <a:off x="719013" y="1483200"/>
            <a:ext cx="10702004" cy="707562"/>
            <a:chOff x="719013" y="1483200"/>
            <a:chExt cx="10702004" cy="70756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5F2DDA2-8B25-D07A-64F0-732AD35BDEA0}"/>
                </a:ext>
              </a:extLst>
            </p:cNvPr>
            <p:cNvSpPr/>
            <p:nvPr/>
          </p:nvSpPr>
          <p:spPr>
            <a:xfrm>
              <a:off x="719013" y="1483200"/>
              <a:ext cx="10702004" cy="7075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B3731F17-A4BB-3420-B9D7-6C31C490DF5A}"/>
                </a:ext>
              </a:extLst>
            </p:cNvPr>
            <p:cNvSpPr txBox="1"/>
            <p:nvPr/>
          </p:nvSpPr>
          <p:spPr>
            <a:xfrm rot="16200000">
              <a:off x="579422" y="1760037"/>
              <a:ext cx="53700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b="1" dirty="0">
                  <a:cs typeface="72 Black" panose="020B0A04030603020204" pitchFamily="34" charset="0"/>
                </a:rPr>
                <a:t>Lieferant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4D7887E-C0C5-69F6-6F79-5378DB5397CF}"/>
              </a:ext>
            </a:extLst>
          </p:cNvPr>
          <p:cNvGrpSpPr/>
          <p:nvPr/>
        </p:nvGrpSpPr>
        <p:grpSpPr>
          <a:xfrm>
            <a:off x="719013" y="2350676"/>
            <a:ext cx="10702004" cy="707562"/>
            <a:chOff x="719013" y="2426619"/>
            <a:chExt cx="10702004" cy="707562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823A2A2-3442-AACB-6998-036946C330C6}"/>
                </a:ext>
              </a:extLst>
            </p:cNvPr>
            <p:cNvSpPr/>
            <p:nvPr/>
          </p:nvSpPr>
          <p:spPr>
            <a:xfrm>
              <a:off x="719013" y="2426619"/>
              <a:ext cx="10702004" cy="7075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1DB64957-DD57-E4ED-0853-EB2D4F1F2093}"/>
                </a:ext>
              </a:extLst>
            </p:cNvPr>
            <p:cNvSpPr txBox="1"/>
            <p:nvPr/>
          </p:nvSpPr>
          <p:spPr>
            <a:xfrm rot="16200000">
              <a:off x="622705" y="2703456"/>
              <a:ext cx="450444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b="1" dirty="0">
                  <a:cs typeface="72 Black" panose="020B0A04030603020204" pitchFamily="34" charset="0"/>
                </a:rPr>
                <a:t>Einkauf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FD06F3D-C5B6-741C-6985-269824A4428B}"/>
              </a:ext>
            </a:extLst>
          </p:cNvPr>
          <p:cNvGrpSpPr/>
          <p:nvPr/>
        </p:nvGrpSpPr>
        <p:grpSpPr>
          <a:xfrm>
            <a:off x="719013" y="4085629"/>
            <a:ext cx="10702004" cy="707562"/>
            <a:chOff x="719013" y="3370038"/>
            <a:chExt cx="10702004" cy="707562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DA71D1B-4658-4FFC-D384-F273E3C1BB99}"/>
                </a:ext>
              </a:extLst>
            </p:cNvPr>
            <p:cNvSpPr/>
            <p:nvPr/>
          </p:nvSpPr>
          <p:spPr>
            <a:xfrm>
              <a:off x="719013" y="3370038"/>
              <a:ext cx="10702004" cy="7075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84A85E75-7785-2ADB-2BE0-8C1BA5528B1E}"/>
                </a:ext>
              </a:extLst>
            </p:cNvPr>
            <p:cNvSpPr txBox="1"/>
            <p:nvPr/>
          </p:nvSpPr>
          <p:spPr>
            <a:xfrm rot="16200000">
              <a:off x="507290" y="3646876"/>
              <a:ext cx="6812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b="1" dirty="0">
                  <a:cs typeface="72 Black" panose="020B0A04030603020204" pitchFamily="34" charset="0"/>
                </a:rPr>
                <a:t>Disposition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2A1021E-7B51-20CE-57A3-F70F755172BC}"/>
              </a:ext>
            </a:extLst>
          </p:cNvPr>
          <p:cNvGrpSpPr/>
          <p:nvPr/>
        </p:nvGrpSpPr>
        <p:grpSpPr>
          <a:xfrm>
            <a:off x="719012" y="3218152"/>
            <a:ext cx="10702004" cy="707562"/>
            <a:chOff x="719012" y="4313458"/>
            <a:chExt cx="10702004" cy="70756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4E9336A-51D6-9B37-ED24-685E05D4388A}"/>
                </a:ext>
              </a:extLst>
            </p:cNvPr>
            <p:cNvSpPr/>
            <p:nvPr/>
          </p:nvSpPr>
          <p:spPr>
            <a:xfrm>
              <a:off x="719012" y="4313458"/>
              <a:ext cx="10702004" cy="7075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27148CD0-4E7A-2D63-119A-B6474DA0DE91}"/>
                </a:ext>
              </a:extLst>
            </p:cNvPr>
            <p:cNvSpPr txBox="1"/>
            <p:nvPr/>
          </p:nvSpPr>
          <p:spPr>
            <a:xfrm rot="16200000">
              <a:off x="704457" y="4590295"/>
              <a:ext cx="28693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b="1" dirty="0">
                  <a:cs typeface="72 Black" panose="020B0A04030603020204" pitchFamily="34" charset="0"/>
                </a:rPr>
                <a:t>R&amp;D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8BC8F68A-3888-4449-9006-9B5348BB1CC4}"/>
              </a:ext>
            </a:extLst>
          </p:cNvPr>
          <p:cNvGrpSpPr/>
          <p:nvPr/>
        </p:nvGrpSpPr>
        <p:grpSpPr>
          <a:xfrm>
            <a:off x="1351252" y="1568478"/>
            <a:ext cx="442429" cy="566340"/>
            <a:chOff x="1351252" y="1568478"/>
            <a:chExt cx="442429" cy="566340"/>
          </a:xfrm>
        </p:grpSpPr>
        <p:pic>
          <p:nvPicPr>
            <p:cNvPr id="24" name="Info">
              <a:extLst>
                <a:ext uri="{FF2B5EF4-FFF2-40B4-BE49-F238E27FC236}">
                  <a16:creationId xmlns:a16="http://schemas.microsoft.com/office/drawing/2014/main" id="{147F8BC9-C054-7406-DFA3-3063D09C86AF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2876" y="1568478"/>
              <a:ext cx="399183" cy="400022"/>
            </a:xfrm>
            <a:prstGeom prst="rect">
              <a:avLst/>
            </a:prstGeom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66AF3651-7E8E-B6E4-A605-BAECD4B70321}"/>
                </a:ext>
              </a:extLst>
            </p:cNvPr>
            <p:cNvSpPr txBox="1"/>
            <p:nvPr/>
          </p:nvSpPr>
          <p:spPr>
            <a:xfrm>
              <a:off x="1351252" y="1980930"/>
              <a:ext cx="4424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b="1" dirty="0"/>
                <a:t>Fehlteil</a:t>
              </a: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D990E9A9-206B-33B1-5197-CD62293B9A53}"/>
              </a:ext>
            </a:extLst>
          </p:cNvPr>
          <p:cNvSpPr/>
          <p:nvPr/>
        </p:nvSpPr>
        <p:spPr>
          <a:xfrm>
            <a:off x="2307501" y="2350676"/>
            <a:ext cx="1008000" cy="2661880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Situations-Analys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B1E07BE-798E-D83C-78F0-CBC134B08B9E}"/>
              </a:ext>
            </a:extLst>
          </p:cNvPr>
          <p:cNvSpPr/>
          <p:nvPr/>
        </p:nvSpPr>
        <p:spPr>
          <a:xfrm>
            <a:off x="3850943" y="1483199"/>
            <a:ext cx="1008000" cy="2442515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Definition möglicher Alter-nativen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20BD4A5-332D-3B32-2BFF-41D0858425D1}"/>
              </a:ext>
            </a:extLst>
          </p:cNvPr>
          <p:cNvSpPr/>
          <p:nvPr/>
        </p:nvSpPr>
        <p:spPr>
          <a:xfrm>
            <a:off x="5394385" y="3218153"/>
            <a:ext cx="1008000" cy="707562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Prüfung techn. Eign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DE78D8A-2D19-1907-D8C8-6DEFC9C8B237}"/>
              </a:ext>
            </a:extLst>
          </p:cNvPr>
          <p:cNvSpPr/>
          <p:nvPr/>
        </p:nvSpPr>
        <p:spPr>
          <a:xfrm>
            <a:off x="5394385" y="1483199"/>
            <a:ext cx="1008000" cy="1575038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Prüfung Verfügbar-</a:t>
            </a:r>
            <a:r>
              <a:rPr lang="de-DE" sz="1100" b="1" dirty="0" err="1">
                <a:solidFill>
                  <a:schemeClr val="bg1"/>
                </a:solidFill>
              </a:rPr>
              <a:t>keit</a:t>
            </a:r>
            <a:endParaRPr lang="de-DE" sz="1100" b="1" dirty="0">
              <a:solidFill>
                <a:schemeClr val="bg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8E9BED8-7598-BED5-8C01-B17061EEEDFE}"/>
              </a:ext>
            </a:extLst>
          </p:cNvPr>
          <p:cNvSpPr/>
          <p:nvPr/>
        </p:nvSpPr>
        <p:spPr>
          <a:xfrm>
            <a:off x="6937827" y="2350675"/>
            <a:ext cx="1008000" cy="1575038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Anlage Material-stamm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C06C9E6-384C-6BFF-E218-73AC21D70C9A}"/>
              </a:ext>
            </a:extLst>
          </p:cNvPr>
          <p:cNvSpPr/>
          <p:nvPr/>
        </p:nvSpPr>
        <p:spPr>
          <a:xfrm>
            <a:off x="8481269" y="4085628"/>
            <a:ext cx="1008000" cy="707562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Bestellung Alternativ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380165F-6040-9C05-01B9-D07FFAF134EE}"/>
              </a:ext>
            </a:extLst>
          </p:cNvPr>
          <p:cNvSpPr/>
          <p:nvPr/>
        </p:nvSpPr>
        <p:spPr>
          <a:xfrm>
            <a:off x="10024710" y="1483200"/>
            <a:ext cx="1008000" cy="707562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Lieferung Alternative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FD07DE6C-EF6F-64C8-FC29-3455E5478192}"/>
              </a:ext>
            </a:extLst>
          </p:cNvPr>
          <p:cNvSpPr txBox="1"/>
          <p:nvPr/>
        </p:nvSpPr>
        <p:spPr>
          <a:xfrm rot="16200000">
            <a:off x="271227" y="5612407"/>
            <a:ext cx="11533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b="1" dirty="0">
                <a:cs typeface="72 Black" panose="020B0A04030603020204" pitchFamily="34" charset="0"/>
              </a:rPr>
              <a:t>Kommentar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30768AD-9FA1-C1D8-54C7-06EFF0D18342}"/>
              </a:ext>
            </a:extLst>
          </p:cNvPr>
          <p:cNvSpPr/>
          <p:nvPr/>
        </p:nvSpPr>
        <p:spPr>
          <a:xfrm>
            <a:off x="10024710" y="4085628"/>
            <a:ext cx="1008000" cy="707562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100" b="1" dirty="0" err="1">
                <a:solidFill>
                  <a:schemeClr val="bg1"/>
                </a:solidFill>
              </a:rPr>
              <a:t>Dokumen-tation</a:t>
            </a:r>
            <a:r>
              <a:rPr lang="de-DE" sz="1100" b="1" dirty="0">
                <a:solidFill>
                  <a:schemeClr val="bg1"/>
                </a:solidFill>
              </a:rPr>
              <a:t>  Verwendung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10B2165-0576-A93C-FF6A-F14C22853F94}"/>
              </a:ext>
            </a:extLst>
          </p:cNvPr>
          <p:cNvSpPr/>
          <p:nvPr/>
        </p:nvSpPr>
        <p:spPr>
          <a:xfrm>
            <a:off x="2307501" y="5112653"/>
            <a:ext cx="1008000" cy="1153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de-DE" sz="1100" dirty="0">
                <a:solidFill>
                  <a:schemeClr val="tx1"/>
                </a:solidFill>
              </a:rPr>
              <a:t>Fix </a:t>
            </a:r>
            <a:r>
              <a:rPr lang="de-DE" sz="1100" b="1" dirty="0">
                <a:solidFill>
                  <a:schemeClr val="tx1"/>
                </a:solidFill>
              </a:rPr>
              <a:t>3x/ Woche</a:t>
            </a:r>
          </a:p>
          <a:p>
            <a:r>
              <a:rPr lang="de-DE" sz="1100" dirty="0">
                <a:solidFill>
                  <a:schemeClr val="tx1"/>
                </a:solidFill>
              </a:rPr>
              <a:t>Fachbereichs-übergreif-</a:t>
            </a:r>
            <a:r>
              <a:rPr lang="de-DE" sz="1100" dirty="0" err="1">
                <a:solidFill>
                  <a:schemeClr val="tx1"/>
                </a:solidFill>
              </a:rPr>
              <a:t>ender</a:t>
            </a:r>
            <a:r>
              <a:rPr lang="de-DE" sz="1100" dirty="0">
                <a:solidFill>
                  <a:schemeClr val="tx1"/>
                </a:solidFill>
              </a:rPr>
              <a:t> Austausch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34B1F8FC-17FB-9745-5273-7DB354942477}"/>
              </a:ext>
            </a:extLst>
          </p:cNvPr>
          <p:cNvSpPr/>
          <p:nvPr/>
        </p:nvSpPr>
        <p:spPr>
          <a:xfrm>
            <a:off x="3782728" y="5109133"/>
            <a:ext cx="1203158" cy="1153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Aft>
                <a:spcPts val="600"/>
              </a:spcAft>
            </a:pPr>
            <a:r>
              <a:rPr lang="de-DE" sz="1100" dirty="0">
                <a:solidFill>
                  <a:schemeClr val="tx1"/>
                </a:solidFill>
              </a:rPr>
              <a:t>Identifikation Alternativen inkl. </a:t>
            </a:r>
            <a:r>
              <a:rPr lang="de-DE" sz="1100" b="1" dirty="0">
                <a:solidFill>
                  <a:schemeClr val="tx1"/>
                </a:solidFill>
              </a:rPr>
              <a:t>Wettbewerbs-produkte</a:t>
            </a:r>
            <a:r>
              <a:rPr lang="de-DE" sz="1100" dirty="0">
                <a:solidFill>
                  <a:schemeClr val="tx1"/>
                </a:solidFill>
              </a:rPr>
              <a:t>!</a:t>
            </a:r>
          </a:p>
          <a:p>
            <a:r>
              <a:rPr lang="de-DE" sz="1100" dirty="0">
                <a:solidFill>
                  <a:schemeClr val="tx1"/>
                </a:solidFill>
              </a:rPr>
              <a:t>Teilnahme </a:t>
            </a:r>
            <a:r>
              <a:rPr lang="de-DE" sz="1100" b="1" dirty="0">
                <a:solidFill>
                  <a:schemeClr val="tx1"/>
                </a:solidFill>
              </a:rPr>
              <a:t>Lieferanten R&amp;D 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B83081F6-4D83-7BCC-0202-345BA97AE9EB}"/>
              </a:ext>
            </a:extLst>
          </p:cNvPr>
          <p:cNvSpPr/>
          <p:nvPr/>
        </p:nvSpPr>
        <p:spPr>
          <a:xfrm>
            <a:off x="5394385" y="5109133"/>
            <a:ext cx="1008000" cy="1153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de-DE" sz="1100" dirty="0">
                <a:solidFill>
                  <a:schemeClr val="tx1"/>
                </a:solidFill>
              </a:rPr>
              <a:t>Abfrage Lieferanten &amp; </a:t>
            </a:r>
            <a:r>
              <a:rPr lang="de-DE" sz="1100" b="1" dirty="0">
                <a:solidFill>
                  <a:schemeClr val="tx1"/>
                </a:solidFill>
              </a:rPr>
              <a:t>Händler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0DFA947-67A2-CD7A-9808-E212F9D168D8}"/>
              </a:ext>
            </a:extLst>
          </p:cNvPr>
          <p:cNvSpPr/>
          <p:nvPr/>
        </p:nvSpPr>
        <p:spPr>
          <a:xfrm>
            <a:off x="10024710" y="5117712"/>
            <a:ext cx="1008000" cy="1153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de-DE" sz="1100" dirty="0" err="1">
                <a:solidFill>
                  <a:schemeClr val="tx1"/>
                </a:solidFill>
              </a:rPr>
              <a:t>Dokumenta-tion</a:t>
            </a:r>
            <a:r>
              <a:rPr lang="de-DE" sz="1100" dirty="0">
                <a:solidFill>
                  <a:schemeClr val="tx1"/>
                </a:solidFill>
              </a:rPr>
              <a:t> in Maschinen-Stückliste / System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4A056CAD-1AD2-FBE3-2932-F34140487CFD}"/>
              </a:ext>
            </a:extLst>
          </p:cNvPr>
          <p:cNvSpPr txBox="1"/>
          <p:nvPr/>
        </p:nvSpPr>
        <p:spPr>
          <a:xfrm>
            <a:off x="1077362" y="6478922"/>
            <a:ext cx="193642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000" dirty="0"/>
              <a:t>*sofern keine Versuche notwendig</a:t>
            </a:r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F9490E94-C989-A630-B283-195B897771F3}"/>
              </a:ext>
            </a:extLst>
          </p:cNvPr>
          <p:cNvCxnSpPr>
            <a:cxnSpLocks/>
            <a:stCxn id="24" idx="3"/>
            <a:endCxn id="26" idx="1"/>
          </p:cNvCxnSpPr>
          <p:nvPr/>
        </p:nvCxnSpPr>
        <p:spPr>
          <a:xfrm>
            <a:off x="1772059" y="1768489"/>
            <a:ext cx="535442" cy="191312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5A726954-C438-D11E-0E2C-F9708866EBCB}"/>
              </a:ext>
            </a:extLst>
          </p:cNvPr>
          <p:cNvCxnSpPr>
            <a:cxnSpLocks/>
            <a:stCxn id="26" idx="3"/>
            <a:endCxn id="27" idx="1"/>
          </p:cNvCxnSpPr>
          <p:nvPr/>
        </p:nvCxnSpPr>
        <p:spPr>
          <a:xfrm flipV="1">
            <a:off x="3315501" y="2704457"/>
            <a:ext cx="535442" cy="977159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5236E227-B569-7596-DF51-5799E1084801}"/>
              </a:ext>
            </a:extLst>
          </p:cNvPr>
          <p:cNvCxnSpPr>
            <a:cxnSpLocks/>
            <a:stCxn id="27" idx="3"/>
            <a:endCxn id="29" idx="1"/>
          </p:cNvCxnSpPr>
          <p:nvPr/>
        </p:nvCxnSpPr>
        <p:spPr>
          <a:xfrm flipV="1">
            <a:off x="4858943" y="2270718"/>
            <a:ext cx="535442" cy="433739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Verbinder: gewinkelt 53">
            <a:extLst>
              <a:ext uri="{FF2B5EF4-FFF2-40B4-BE49-F238E27FC236}">
                <a16:creationId xmlns:a16="http://schemas.microsoft.com/office/drawing/2014/main" id="{E99088B5-D071-C2CD-48BB-D88C93314BAD}"/>
              </a:ext>
            </a:extLst>
          </p:cNvPr>
          <p:cNvCxnSpPr>
            <a:cxnSpLocks/>
            <a:stCxn id="27" idx="3"/>
            <a:endCxn id="28" idx="1"/>
          </p:cNvCxnSpPr>
          <p:nvPr/>
        </p:nvCxnSpPr>
        <p:spPr>
          <a:xfrm>
            <a:off x="4858943" y="2704457"/>
            <a:ext cx="535442" cy="86747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B293A1A6-423C-C36E-4665-2E335EC5F8F2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>
            <a:off x="6402385" y="2270718"/>
            <a:ext cx="535442" cy="867476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Verbinder: gewinkelt 60">
            <a:extLst>
              <a:ext uri="{FF2B5EF4-FFF2-40B4-BE49-F238E27FC236}">
                <a16:creationId xmlns:a16="http://schemas.microsoft.com/office/drawing/2014/main" id="{E5B9ACC9-B50E-B643-4BF4-8D1D085D9C7F}"/>
              </a:ext>
            </a:extLst>
          </p:cNvPr>
          <p:cNvCxnSpPr>
            <a:cxnSpLocks/>
            <a:stCxn id="28" idx="3"/>
            <a:endCxn id="30" idx="1"/>
          </p:cNvCxnSpPr>
          <p:nvPr/>
        </p:nvCxnSpPr>
        <p:spPr>
          <a:xfrm flipV="1">
            <a:off x="6402385" y="3138194"/>
            <a:ext cx="535442" cy="43374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Verbinder: gewinkelt 63">
            <a:extLst>
              <a:ext uri="{FF2B5EF4-FFF2-40B4-BE49-F238E27FC236}">
                <a16:creationId xmlns:a16="http://schemas.microsoft.com/office/drawing/2014/main" id="{FEC6F677-054F-C384-134F-AA51D4CAA0B6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7945827" y="3138194"/>
            <a:ext cx="535442" cy="1301215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Verbinder: gewinkelt 66">
            <a:extLst>
              <a:ext uri="{FF2B5EF4-FFF2-40B4-BE49-F238E27FC236}">
                <a16:creationId xmlns:a16="http://schemas.microsoft.com/office/drawing/2014/main" id="{A5CAF8F8-7A0B-CCE1-832F-6221CEC6EA8D}"/>
              </a:ext>
            </a:extLst>
          </p:cNvPr>
          <p:cNvCxnSpPr>
            <a:cxnSpLocks/>
            <a:stCxn id="31" idx="3"/>
            <a:endCxn id="32" idx="1"/>
          </p:cNvCxnSpPr>
          <p:nvPr/>
        </p:nvCxnSpPr>
        <p:spPr>
          <a:xfrm flipV="1">
            <a:off x="9489269" y="1836981"/>
            <a:ext cx="535441" cy="2602428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B8A588FA-9A0C-EDCC-B885-9F996213BDA5}"/>
              </a:ext>
            </a:extLst>
          </p:cNvPr>
          <p:cNvCxnSpPr>
            <a:cxnSpLocks/>
            <a:stCxn id="31" idx="3"/>
            <a:endCxn id="35" idx="1"/>
          </p:cNvCxnSpPr>
          <p:nvPr/>
        </p:nvCxnSpPr>
        <p:spPr>
          <a:xfrm>
            <a:off x="9489269" y="4439409"/>
            <a:ext cx="535441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6D28D0B9-9EA8-9D96-9162-64F588B2E1D6}"/>
              </a:ext>
            </a:extLst>
          </p:cNvPr>
          <p:cNvSpPr/>
          <p:nvPr/>
        </p:nvSpPr>
        <p:spPr>
          <a:xfrm>
            <a:off x="1351252" y="2599300"/>
            <a:ext cx="8138017" cy="1077790"/>
          </a:xfrm>
          <a:prstGeom prst="rightArrow">
            <a:avLst/>
          </a:prstGeom>
          <a:solidFill>
            <a:srgbClr val="93C11C"/>
          </a:solidFill>
          <a:ln w="1270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</a:rPr>
              <a:t>DLZ: Ziel max. 1,5 Tage* – Rekord: 2,5 h</a:t>
            </a:r>
          </a:p>
        </p:txBody>
      </p:sp>
    </p:spTree>
    <p:extLst>
      <p:ext uri="{BB962C8B-B14F-4D97-AF65-F5344CB8AC3E}">
        <p14:creationId xmlns:p14="http://schemas.microsoft.com/office/powerpoint/2010/main" val="1115989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4" grpId="0"/>
      <p:bldP spid="35" grpId="0" animBg="1"/>
      <p:bldP spid="36" grpId="0" animBg="1"/>
      <p:bldP spid="37" grpId="0" animBg="1"/>
      <p:bldP spid="38" grpId="0" animBg="1"/>
      <p:bldP spid="40" grpId="0" animBg="1"/>
      <p:bldP spid="42" grpId="0"/>
      <p:bldP spid="4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4AAEDA6-86D0-85FF-FE81-9BA474A7045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9138" y="1483200"/>
            <a:ext cx="9666521" cy="4345200"/>
          </a:xfrm>
        </p:spPr>
        <p:txBody>
          <a:bodyPr/>
          <a:lstStyle/>
          <a:p>
            <a:pPr marL="285750" indent="-285750">
              <a:spcBef>
                <a:spcPts val="1200"/>
              </a:spcBef>
              <a:spcAft>
                <a:spcPts val="1800"/>
              </a:spcAft>
              <a:buFont typeface="Wingdings" panose="05000000000000000000" pitchFamily="2" charset="2"/>
              <a:buChar char="Ø"/>
            </a:pPr>
            <a:r>
              <a:rPr lang="de-DE" i="1" dirty="0">
                <a:solidFill>
                  <a:schemeClr val="tx2"/>
                </a:solidFill>
              </a:rPr>
              <a:t>Schlanke Strukturen &amp; Vermeidung zeitaufwendiger </a:t>
            </a:r>
            <a:r>
              <a:rPr lang="de-DE" i="1" dirty="0" err="1">
                <a:solidFill>
                  <a:schemeClr val="tx2"/>
                </a:solidFill>
              </a:rPr>
              <a:t>Reportings</a:t>
            </a:r>
            <a:r>
              <a:rPr lang="de-DE" i="1" dirty="0">
                <a:solidFill>
                  <a:schemeClr val="tx2"/>
                </a:solidFill>
              </a:rPr>
              <a:t>					</a:t>
            </a:r>
          </a:p>
          <a:p>
            <a:pPr marL="285750" indent="-285750">
              <a:spcBef>
                <a:spcPts val="1200"/>
              </a:spcBef>
              <a:spcAft>
                <a:spcPts val="1800"/>
              </a:spcAft>
              <a:buFont typeface="Wingdings" panose="05000000000000000000" pitchFamily="2" charset="2"/>
              <a:buChar char="Ø"/>
            </a:pPr>
            <a:r>
              <a:rPr lang="de-DE" i="1" dirty="0">
                <a:solidFill>
                  <a:schemeClr val="tx2"/>
                </a:solidFill>
              </a:rPr>
              <a:t>Vollständige Transparenz zum Lieferanten erzeugt Verständnis					</a:t>
            </a:r>
          </a:p>
          <a:p>
            <a:pPr marL="285750" indent="-285750">
              <a:spcBef>
                <a:spcPts val="1200"/>
              </a:spcBef>
              <a:spcAft>
                <a:spcPts val="1800"/>
              </a:spcAft>
              <a:buFont typeface="Wingdings" panose="05000000000000000000" pitchFamily="2" charset="2"/>
              <a:buChar char="Ø"/>
            </a:pPr>
            <a:r>
              <a:rPr lang="de-DE" i="1" dirty="0">
                <a:solidFill>
                  <a:schemeClr val="tx2"/>
                </a:solidFill>
              </a:rPr>
              <a:t>Klar definierter &amp; kurzzyklischer Prozessablauf über alle Fachbereich hinweg			</a:t>
            </a:r>
          </a:p>
          <a:p>
            <a:pPr marL="285750" indent="-285750">
              <a:spcBef>
                <a:spcPts val="1200"/>
              </a:spcBef>
              <a:spcAft>
                <a:spcPts val="1800"/>
              </a:spcAft>
              <a:buFont typeface="Wingdings" panose="05000000000000000000" pitchFamily="2" charset="2"/>
              <a:buChar char="Ø"/>
            </a:pPr>
            <a:r>
              <a:rPr lang="de-DE" i="1" dirty="0">
                <a:solidFill>
                  <a:schemeClr val="tx2"/>
                </a:solidFill>
              </a:rPr>
              <a:t>Reservierte Kapazitäten zur Prüfung und Umstellung von Alternativen</a:t>
            </a:r>
          </a:p>
          <a:p>
            <a:pPr algn="r"/>
            <a:endParaRPr lang="de-DE" dirty="0"/>
          </a:p>
          <a:p>
            <a:pPr algn="r"/>
            <a:endParaRPr lang="de-DE" dirty="0"/>
          </a:p>
          <a:p>
            <a:pPr algn="r"/>
            <a:r>
              <a:rPr lang="de-DE" dirty="0"/>
              <a:t>Vielen Dank für Ihre Aufmerksamkeit – Fragen &amp; Erfahrungen </a:t>
            </a:r>
            <a:r>
              <a:rPr lang="de-DE" dirty="0" err="1"/>
              <a:t>welcome</a:t>
            </a:r>
            <a:r>
              <a:rPr lang="de-DE" dirty="0"/>
              <a:t>…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4F942CC-5D64-7D36-18BD-0B63E4C4C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ummar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AE5F76C-C89A-8DC3-5415-A8D8842DF5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5" name="Time / Clock - Zeit / Uhr">
            <a:extLst>
              <a:ext uri="{FF2B5EF4-FFF2-40B4-BE49-F238E27FC236}">
                <a16:creationId xmlns:a16="http://schemas.microsoft.com/office/drawing/2014/main" id="{BCFFB6E6-0B4F-EB5F-F4A3-BB01910D9E3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7829" y="1455305"/>
            <a:ext cx="539884" cy="539884"/>
          </a:xfrm>
          <a:prstGeom prst="rect">
            <a:avLst/>
          </a:prstGeom>
        </p:spPr>
      </p:pic>
      <p:pic>
        <p:nvPicPr>
          <p:cNvPr id="6" name="Smart View Services">
            <a:extLst>
              <a:ext uri="{FF2B5EF4-FFF2-40B4-BE49-F238E27FC236}">
                <a16:creationId xmlns:a16="http://schemas.microsoft.com/office/drawing/2014/main" id="{81ECE31E-9179-F586-204E-8D89A0F892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592" y="2219428"/>
            <a:ext cx="754359" cy="539884"/>
          </a:xfrm>
          <a:prstGeom prst="rect">
            <a:avLst/>
          </a:prstGeom>
        </p:spPr>
      </p:pic>
      <p:pic>
        <p:nvPicPr>
          <p:cNvPr id="7" name="simple-processes">
            <a:extLst>
              <a:ext uri="{FF2B5EF4-FFF2-40B4-BE49-F238E27FC236}">
                <a16:creationId xmlns:a16="http://schemas.microsoft.com/office/drawing/2014/main" id="{07FDC560-5E48-29AC-7850-68D44440935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56876" y="3054219"/>
            <a:ext cx="601791" cy="601791"/>
          </a:xfrm>
          <a:prstGeom prst="rect">
            <a:avLst/>
          </a:prstGeom>
        </p:spPr>
      </p:pic>
      <p:pic>
        <p:nvPicPr>
          <p:cNvPr id="8" name="myTRUMPF">
            <a:extLst>
              <a:ext uri="{FF2B5EF4-FFF2-40B4-BE49-F238E27FC236}">
                <a16:creationId xmlns:a16="http://schemas.microsoft.com/office/drawing/2014/main" id="{F306A44D-D61D-C30A-968E-6403F389673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495955" y="3944559"/>
            <a:ext cx="723633" cy="59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583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946D1C3-674D-6A42-21A1-BAB95A7A3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04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946D1C3-674D-6A42-21A1-BAB95A7A3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D71C5EB-324B-A491-81CB-E1FCE46282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usgangslage TRUMPF 2021 – prä-Engpasskris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7BC27C2-52EF-C6DD-44B8-44B93647063B}"/>
              </a:ext>
            </a:extLst>
          </p:cNvPr>
          <p:cNvSpPr txBox="1"/>
          <p:nvPr/>
        </p:nvSpPr>
        <p:spPr>
          <a:xfrm>
            <a:off x="1782147" y="1302659"/>
            <a:ext cx="9675844" cy="46782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600"/>
              </a:spcAft>
            </a:pPr>
            <a:r>
              <a:rPr lang="de-DE" sz="2200" cap="small" dirty="0"/>
              <a:t>H</a:t>
            </a:r>
            <a:r>
              <a:rPr lang="de-DE" sz="2200" dirty="0"/>
              <a:t>ohes Belastungsniveau durch Covid und weiterhin hohe Auflagen </a:t>
            </a:r>
          </a:p>
          <a:p>
            <a:pPr algn="l">
              <a:spcAft>
                <a:spcPts val="3600"/>
              </a:spcAft>
            </a:pPr>
            <a:r>
              <a:rPr lang="de-DE" sz="2200" dirty="0"/>
              <a:t>Kapazitäten angespannt </a:t>
            </a:r>
          </a:p>
          <a:p>
            <a:pPr algn="l">
              <a:spcAft>
                <a:spcPts val="3600"/>
              </a:spcAft>
            </a:pPr>
            <a:r>
              <a:rPr lang="de-DE" sz="2200" dirty="0"/>
              <a:t>Relativ rapider, homogener Anstieg der Auftragslage (nach erster Covid-Welle)</a:t>
            </a:r>
          </a:p>
          <a:p>
            <a:pPr algn="l">
              <a:spcAft>
                <a:spcPts val="3600"/>
              </a:spcAft>
            </a:pPr>
            <a:r>
              <a:rPr lang="de-DE" sz="2200" dirty="0"/>
              <a:t>Niedriges Bestandsniveau</a:t>
            </a:r>
          </a:p>
          <a:p>
            <a:pPr algn="l">
              <a:spcAft>
                <a:spcPts val="3600"/>
              </a:spcAft>
            </a:pPr>
            <a:r>
              <a:rPr lang="de-DE" sz="2200" dirty="0"/>
              <a:t>(Noch) keine flächendeckende Elektronikkompetenz und v.a. keine „Marktmacht“ bei Herstellern</a:t>
            </a:r>
          </a:p>
          <a:p>
            <a:pPr algn="l">
              <a:spcAft>
                <a:spcPts val="3600"/>
              </a:spcAft>
            </a:pPr>
            <a:r>
              <a:rPr lang="de-DE" sz="2200" dirty="0"/>
              <a:t>Verschiedenste (unangekündigte) Engpässe in kürzester Zeit</a:t>
            </a:r>
            <a:endParaRPr lang="de-DE" sz="2200" i="1" dirty="0">
              <a:highlight>
                <a:srgbClr val="FFFF00"/>
              </a:highlight>
            </a:endParaRPr>
          </a:p>
        </p:txBody>
      </p:sp>
      <p:pic>
        <p:nvPicPr>
          <p:cNvPr id="6" name="Grafik 5" descr="Verwirrte Gesichtskontur mit einfarbiger Füllung">
            <a:extLst>
              <a:ext uri="{FF2B5EF4-FFF2-40B4-BE49-F238E27FC236}">
                <a16:creationId xmlns:a16="http://schemas.microsoft.com/office/drawing/2014/main" id="{CA90A56A-1213-0267-17EF-4CBF0EEB7C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8612" y="1203853"/>
            <a:ext cx="504000" cy="504000"/>
          </a:xfrm>
          <a:prstGeom prst="rect">
            <a:avLst/>
          </a:prstGeom>
        </p:spPr>
      </p:pic>
      <p:pic>
        <p:nvPicPr>
          <p:cNvPr id="11" name="Grafik 10" descr="Ambition mit einfarbiger Füllung">
            <a:extLst>
              <a:ext uri="{FF2B5EF4-FFF2-40B4-BE49-F238E27FC236}">
                <a16:creationId xmlns:a16="http://schemas.microsoft.com/office/drawing/2014/main" id="{508A2024-10CD-EE07-98EC-F658B1C6CF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910" y="2908944"/>
            <a:ext cx="504000" cy="504000"/>
          </a:xfrm>
          <a:prstGeom prst="rect">
            <a:avLst/>
          </a:prstGeom>
        </p:spPr>
      </p:pic>
      <p:pic>
        <p:nvPicPr>
          <p:cNvPr id="13" name="Grafik 12" descr="Balkendiagramm mit Abwärtstrend mit einfarbiger Füllung">
            <a:extLst>
              <a:ext uri="{FF2B5EF4-FFF2-40B4-BE49-F238E27FC236}">
                <a16:creationId xmlns:a16="http://schemas.microsoft.com/office/drawing/2014/main" id="{D8627282-FFE6-2B45-8BBC-97A4F660CB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8612" y="3761491"/>
            <a:ext cx="504000" cy="504000"/>
          </a:xfrm>
          <a:prstGeom prst="rect">
            <a:avLst/>
          </a:prstGeom>
        </p:spPr>
      </p:pic>
      <p:pic>
        <p:nvPicPr>
          <p:cNvPr id="15" name="Grafik 14" descr="Prozessor Silhouette">
            <a:extLst>
              <a:ext uri="{FF2B5EF4-FFF2-40B4-BE49-F238E27FC236}">
                <a16:creationId xmlns:a16="http://schemas.microsoft.com/office/drawing/2014/main" id="{F4DDC741-3269-96A6-A2A1-98F98247484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8612" y="4614037"/>
            <a:ext cx="504000" cy="504000"/>
          </a:xfrm>
          <a:prstGeom prst="rect">
            <a:avLst/>
          </a:prstGeom>
        </p:spPr>
      </p:pic>
      <p:pic>
        <p:nvPicPr>
          <p:cNvPr id="8" name="Grafik 7" descr="drehende Teller mit einfarbiger Füllung">
            <a:extLst>
              <a:ext uri="{FF2B5EF4-FFF2-40B4-BE49-F238E27FC236}">
                <a16:creationId xmlns:a16="http://schemas.microsoft.com/office/drawing/2014/main" id="{354743ED-D0D9-F40B-1290-CF1DE2608BD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40184" y="5466585"/>
            <a:ext cx="504000" cy="504000"/>
          </a:xfrm>
          <a:prstGeom prst="rect">
            <a:avLst/>
          </a:prstGeom>
        </p:spPr>
      </p:pic>
      <p:pic>
        <p:nvPicPr>
          <p:cNvPr id="4" name="Grafik 3" descr="Bodybuilder mit einfarbiger Füllung">
            <a:extLst>
              <a:ext uri="{FF2B5EF4-FFF2-40B4-BE49-F238E27FC236}">
                <a16:creationId xmlns:a16="http://schemas.microsoft.com/office/drawing/2014/main" id="{D8B11E38-7741-3844-E5EE-759E9046BCD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0184" y="2032520"/>
            <a:ext cx="5040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984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3F4BFB-987B-1DEA-A2CB-B5DAE0B35C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7631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473" imgH="473" progId="TCLayout.ActiveDocument.1">
                  <p:embed/>
                </p:oleObj>
              </mc:Choice>
              <mc:Fallback>
                <p:oleObj name="think-cell Folie" r:id="rId33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3F4BFB-987B-1DEA-A2CB-B5DAE0B35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008C13E-07A0-6877-90B6-1FD143156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msatzentwicklung durch Engpas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35DDF0B-ED90-FB21-B832-174A765A2E8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rfolg durch </a:t>
            </a:r>
            <a:r>
              <a:rPr lang="de-DE" i="1" dirty="0"/>
              <a:t>(</a:t>
            </a:r>
            <a:r>
              <a:rPr lang="de-DE" i="1" dirty="0" err="1"/>
              <a:t>un</a:t>
            </a:r>
            <a:r>
              <a:rPr lang="de-DE" i="1" dirty="0"/>
              <a:t>)</a:t>
            </a:r>
            <a:r>
              <a:rPr lang="de-DE" dirty="0"/>
              <a:t>bewusste Umsatzsicherung von Produkten mit hohem Gruppenbeitrag </a:t>
            </a:r>
          </a:p>
        </p:txBody>
      </p: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BD4039BA-5796-5B8D-EB8F-660BF72CFBEB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42148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Gerader Verbinder 254">
            <a:extLst>
              <a:ext uri="{FF2B5EF4-FFF2-40B4-BE49-F238E27FC236}">
                <a16:creationId xmlns:a16="http://schemas.microsoft.com/office/drawing/2014/main" id="{DF418466-E6D1-997F-F3A2-236239ACEC6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1287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Gerader Verbinder 255">
            <a:extLst>
              <a:ext uri="{FF2B5EF4-FFF2-40B4-BE49-F238E27FC236}">
                <a16:creationId xmlns:a16="http://schemas.microsoft.com/office/drawing/2014/main" id="{1E519A76-44B7-8BAA-F383-D8C04573140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168525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B3A98F8B-041E-85E0-2B6E-D151A33A445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19246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Gerader Verbinder 263">
            <a:extLst>
              <a:ext uri="{FF2B5EF4-FFF2-40B4-BE49-F238E27FC236}">
                <a16:creationId xmlns:a16="http://schemas.microsoft.com/office/drawing/2014/main" id="{117981A3-2C1A-2BC2-E39A-E8E26DC6E6F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339388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7EFBBBD-756E-3275-3AC3-618EDDAB417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25170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CF769332-45ED-E208-E48F-CA824324E56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2054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Gerader Verbinder 259">
            <a:extLst>
              <a:ext uri="{FF2B5EF4-FFF2-40B4-BE49-F238E27FC236}">
                <a16:creationId xmlns:a16="http://schemas.microsoft.com/office/drawing/2014/main" id="{2E8C90A8-8917-E5B4-EBF7-09D191699E9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22935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Gerader Verbinder 261">
            <a:extLst>
              <a:ext uri="{FF2B5EF4-FFF2-40B4-BE49-F238E27FC236}">
                <a16:creationId xmlns:a16="http://schemas.microsoft.com/office/drawing/2014/main" id="{C281940F-0F35-61CF-F190-704B65701E2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2915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4C87E28-89F8-F1DF-F6C7-5F879F45C33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31545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2" name="Gerader Verbinder 421">
            <a:extLst>
              <a:ext uri="{FF2B5EF4-FFF2-40B4-BE49-F238E27FC236}">
                <a16:creationId xmlns:a16="http://schemas.microsoft.com/office/drawing/2014/main" id="{42B96E2F-C8EF-1CAA-D3ED-ABAB4B6A41D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132840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" name="Chart 3">
            <a:extLst>
              <a:ext uri="{FF2B5EF4-FFF2-40B4-BE49-F238E27FC236}">
                <a16:creationId xmlns:a16="http://schemas.microsoft.com/office/drawing/2014/main" id="{F2D03B0B-A34B-17C0-03CC-C553684E6AEE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5247106"/>
              </p:ext>
            </p:extLst>
          </p:nvPr>
        </p:nvGraphicFramePr>
        <p:xfrm>
          <a:off x="574675" y="1822450"/>
          <a:ext cx="10836275" cy="3894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247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9893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A9FB022-CF10-4132-9279-EE36AF106DD6}" type="datetime'''0''''''''''''''''''1''''''''''/''''''''''2''''''''''''2'''">
              <a:rPr lang="de-DE" altLang="en-US" sz="1400" smtClean="0">
                <a:cs typeface="+mn-cs"/>
              </a:rPr>
              <a:pPr/>
              <a:t>01/22</a:t>
            </a:fld>
            <a:endParaRPr lang="de-DE" sz="1400" dirty="0">
              <a:cs typeface="+mn-cs"/>
            </a:endParaRPr>
          </a:p>
        </p:txBody>
      </p:sp>
      <p:sp>
        <p:nvSpPr>
          <p:cNvPr id="245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943100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20B7B22-2D96-4964-9873-5926833DC940}" type="datetime'''''''''''0''''''''''''''''''''''''''''9''''/''''''2''''1'">
              <a:rPr lang="de-DE" altLang="en-US" sz="1400" smtClean="0">
                <a:cs typeface="+mn-cs"/>
              </a:rPr>
              <a:pPr/>
              <a:t>09/21</a:t>
            </a:fld>
            <a:endParaRPr lang="de-DE" sz="1400" dirty="0">
              <a:cs typeface="+mn-cs"/>
            </a:endParaRPr>
          </a:p>
        </p:txBody>
      </p:sp>
      <p:sp>
        <p:nvSpPr>
          <p:cNvPr id="25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113963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76F7D37-A57F-4980-9C4F-26C34F261EFD}" type="datetime'''''0''''''''''''''1''''''''''''''''''/2''''3'">
              <a:rPr lang="de-DE" altLang="en-US" sz="1400" smtClean="0">
                <a:cs typeface="+mn-cs"/>
              </a:rPr>
              <a:pPr/>
              <a:t>01/23</a:t>
            </a:fld>
            <a:endParaRPr lang="de-DE" sz="1400" dirty="0">
              <a:cs typeface="+mn-cs"/>
            </a:endParaRPr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96703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842F6B0-B0FC-4661-9273-97C6298974AD}" type="datetime'''''1''''''''''''''''''1/''''''2''''''''1'''''''">
              <a:rPr lang="de-DE" altLang="en-US" sz="1400" smtClean="0">
                <a:cs typeface="+mn-cs"/>
              </a:rPr>
              <a:pPr/>
              <a:t>11/21</a:t>
            </a:fld>
            <a:endParaRPr lang="de-DE" sz="1400" dirty="0">
              <a:cs typeface="+mn-cs"/>
            </a:endParaRPr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032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2CDE2DB-3598-474A-BE60-9F402DB0651A}" type="datetime'''''''''''0''7''''''''''''/''2''''''''''1'''''">
              <a:rPr lang="de-DE" altLang="en-US" sz="1400" smtClean="0">
                <a:cs typeface="+mn-cs"/>
              </a:rPr>
              <a:pPr/>
              <a:t>07/21</a:t>
            </a:fld>
            <a:endParaRPr lang="de-DE" sz="1400" dirty="0">
              <a:cs typeface="+mn-cs"/>
            </a:endParaRPr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9799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5D61BE9-D6E4-4764-9A1E-8C0B7C961E03}" type="datetime'0''''''''''''''3''''/''''''''''''''''''2''''2'''''''''''''''''">
              <a:rPr lang="de-DE" altLang="en-US" sz="1400" smtClean="0">
                <a:cs typeface="+mn-cs"/>
              </a:rPr>
              <a:pPr/>
              <a:t>03/22</a:t>
            </a:fld>
            <a:endParaRPr lang="de-DE" sz="1400" dirty="0">
              <a:cs typeface="+mn-cs"/>
            </a:endParaRPr>
          </a:p>
        </p:txBody>
      </p:sp>
      <p:sp>
        <p:nvSpPr>
          <p:cNvPr id="249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00392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3AE742F-636D-4FF0-BDD8-E016FC4AE501}" type="datetime'''''''0''''''''''''''5''/''''2''''''''2'''''''">
              <a:rPr lang="de-DE" altLang="en-US" sz="1400" smtClean="0">
                <a:cs typeface="+mn-cs"/>
              </a:rPr>
              <a:pPr/>
              <a:t>05/22</a:t>
            </a:fld>
            <a:endParaRPr lang="de-DE" sz="1400" dirty="0">
              <a:cs typeface="+mn-cs"/>
            </a:endParaRPr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02627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F6C7FA0-5ECA-498F-862B-0A7B92DB03FA}" type="datetime'''''0''''''''''''''''''''''''''''''7''/''''2''''''''''''2'''''">
              <a:rPr lang="de-DE" altLang="en-US" sz="1400" smtClean="0">
                <a:cs typeface="+mn-cs"/>
              </a:rPr>
              <a:pPr/>
              <a:t>07/22</a:t>
            </a:fld>
            <a:endParaRPr lang="de-DE" sz="1400" dirty="0">
              <a:cs typeface="+mn-cs"/>
            </a:endParaRPr>
          </a:p>
        </p:txBody>
      </p:sp>
      <p:sp>
        <p:nvSpPr>
          <p:cNvPr id="25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0660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A505660-0F79-41D4-8EF7-C5DA8D28A41E}" type="datetime'''''0''''''9''''''''/''''''''2''''''''''''2'''''">
              <a:rPr lang="de-DE" altLang="en-US" sz="1400" smtClean="0">
                <a:cs typeface="+mn-cs"/>
              </a:rPr>
              <a:pPr/>
              <a:t>09/22</a:t>
            </a:fld>
            <a:endParaRPr lang="de-DE" sz="1400" dirty="0">
              <a:cs typeface="+mn-cs"/>
            </a:endParaRPr>
          </a:p>
        </p:txBody>
      </p:sp>
      <p:sp>
        <p:nvSpPr>
          <p:cNvPr id="252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09002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066BED6-F881-4634-BE95-34DE8760F359}" type="datetime'''''''''''''1''''''1''''''/''''2''''''''2'''''''''''''">
              <a:rPr lang="de-DE" altLang="en-US" sz="1400" smtClean="0">
                <a:cs typeface="+mn-cs"/>
              </a:rPr>
              <a:pPr/>
              <a:t>11/22</a:t>
            </a:fld>
            <a:endParaRPr lang="de-DE" sz="1400" dirty="0">
              <a:cs typeface="+mn-cs"/>
            </a:endParaRPr>
          </a:p>
        </p:txBody>
      </p:sp>
      <p:sp>
        <p:nvSpPr>
          <p:cNvPr id="42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110297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C7909D1-B9FD-45BB-8BC5-C14FF8ADF03C}" type="datetime'''''''''''''''0''''3''''''''''''''''''''''''/''''23'''''">
              <a:rPr lang="de-DE" altLang="en-US" sz="1400" smtClean="0">
                <a:effectLst/>
                <a:cs typeface="+mn-cs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03/23</a:t>
            </a:fld>
            <a:endParaRPr lang="de-DE" sz="1400" dirty="0">
              <a:cs typeface="+mn-cs"/>
            </a:endParaRPr>
          </a:p>
        </p:txBody>
      </p:sp>
      <p:cxnSp>
        <p:nvCxnSpPr>
          <p:cNvPr id="312" name="Gerader Verbinder 311">
            <a:extLst>
              <a:ext uri="{FF2B5EF4-FFF2-40B4-BE49-F238E27FC236}">
                <a16:creationId xmlns:a16="http://schemas.microsoft.com/office/drawing/2014/main" id="{1BDC2AE8-2D07-A94A-7A6E-F685EE180C3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28713" y="4189413"/>
            <a:ext cx="1019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62026" y="1635125"/>
            <a:ext cx="334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100" dirty="0">
                <a:effectLst/>
                <a:cs typeface="+mn-cs"/>
              </a:rPr>
              <a:t>Index</a:t>
            </a:r>
            <a:endParaRPr lang="de-DE" sz="1400" dirty="0">
              <a:cs typeface="+mn-cs"/>
            </a:endParaRPr>
          </a:p>
        </p:txBody>
      </p: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A6768664-E408-DBFF-9BEC-84C36C7E7811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3778250" y="6234113"/>
            <a:ext cx="231775" cy="0"/>
          </a:xfrm>
          <a:prstGeom prst="line">
            <a:avLst/>
          </a:prstGeom>
          <a:ln w="19050" cap="rnd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070350" y="6135688"/>
            <a:ext cx="1958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6A385F17-C634-47DC-B0DB-BFD4083B8D63}" type="datetime'''geri''ng''''''e''r'' ''Gru''p''''pe''nbe''i''''''''''t''rag'">
              <a:rPr lang="de-DE" altLang="en-US" sz="1400" smtClean="0">
                <a:effectLst/>
                <a:cs typeface="+mn-cs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geringer Gruppenbeitrag</a:t>
            </a:fld>
            <a:endParaRPr lang="de-DE" sz="1400" dirty="0">
              <a:cs typeface="+mn-cs"/>
            </a:endParaRP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403DAB70-0BDB-F3D9-FB3E-26E44BE68F36}"/>
              </a:ext>
            </a:extLst>
          </p:cNvPr>
          <p:cNvSpPr/>
          <p:nvPr/>
        </p:nvSpPr>
        <p:spPr>
          <a:xfrm rot="5400000">
            <a:off x="9499603" y="1204488"/>
            <a:ext cx="1066796" cy="2590799"/>
          </a:xfrm>
          <a:prstGeom prst="downArrow">
            <a:avLst/>
          </a:prstGeom>
          <a:solidFill>
            <a:schemeClr val="accent5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31" name="Pfeil: nach unten 30">
            <a:extLst>
              <a:ext uri="{FF2B5EF4-FFF2-40B4-BE49-F238E27FC236}">
                <a16:creationId xmlns:a16="http://schemas.microsoft.com/office/drawing/2014/main" id="{FD6F108F-C444-CD8D-6E9F-63289D85AAE3}"/>
              </a:ext>
            </a:extLst>
          </p:cNvPr>
          <p:cNvSpPr/>
          <p:nvPr/>
        </p:nvSpPr>
        <p:spPr>
          <a:xfrm rot="5400000">
            <a:off x="9527860" y="3614741"/>
            <a:ext cx="1066796" cy="2590799"/>
          </a:xfrm>
          <a:prstGeom prst="downArrow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471" name="Textfeld 470">
            <a:extLst>
              <a:ext uri="{FF2B5EF4-FFF2-40B4-BE49-F238E27FC236}">
                <a16:creationId xmlns:a16="http://schemas.microsoft.com/office/drawing/2014/main" id="{A1530FBC-7DEC-9D81-1F82-74228BB8666B}"/>
              </a:ext>
            </a:extLst>
          </p:cNvPr>
          <p:cNvSpPr txBox="1"/>
          <p:nvPr/>
        </p:nvSpPr>
        <p:spPr>
          <a:xfrm>
            <a:off x="9315450" y="2345998"/>
            <a:ext cx="19859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000" b="1" cap="small" dirty="0"/>
              <a:t>Wachstum</a:t>
            </a:r>
          </a:p>
        </p:txBody>
      </p:sp>
      <p:sp>
        <p:nvSpPr>
          <p:cNvPr id="472" name="Textfeld 471">
            <a:extLst>
              <a:ext uri="{FF2B5EF4-FFF2-40B4-BE49-F238E27FC236}">
                <a16:creationId xmlns:a16="http://schemas.microsoft.com/office/drawing/2014/main" id="{7E35FF84-25B3-28B4-30C5-023243FFCCC3}"/>
              </a:ext>
            </a:extLst>
          </p:cNvPr>
          <p:cNvSpPr txBox="1"/>
          <p:nvPr/>
        </p:nvSpPr>
        <p:spPr>
          <a:xfrm>
            <a:off x="9315450" y="4756251"/>
            <a:ext cx="19859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000" b="1" cap="small" dirty="0">
                <a:solidFill>
                  <a:schemeClr val="bg1"/>
                </a:solidFill>
              </a:rPr>
              <a:t>Rückgang</a:t>
            </a:r>
          </a:p>
        </p:txBody>
      </p:sp>
      <p:sp>
        <p:nvSpPr>
          <p:cNvPr id="473" name="Textfeld 472">
            <a:extLst>
              <a:ext uri="{FF2B5EF4-FFF2-40B4-BE49-F238E27FC236}">
                <a16:creationId xmlns:a16="http://schemas.microsoft.com/office/drawing/2014/main" id="{5FD1B317-9CD0-E4F7-7567-08F1C79F3C4B}"/>
              </a:ext>
            </a:extLst>
          </p:cNvPr>
          <p:cNvSpPr txBox="1"/>
          <p:nvPr/>
        </p:nvSpPr>
        <p:spPr>
          <a:xfrm>
            <a:off x="8542814" y="1841462"/>
            <a:ext cx="3036887" cy="1375933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de-DE" dirty="0" err="1"/>
          </a:p>
        </p:txBody>
      </p:sp>
      <p:sp>
        <p:nvSpPr>
          <p:cNvPr id="475" name="Textfeld 474">
            <a:extLst>
              <a:ext uri="{FF2B5EF4-FFF2-40B4-BE49-F238E27FC236}">
                <a16:creationId xmlns:a16="http://schemas.microsoft.com/office/drawing/2014/main" id="{295D98B2-26BD-7D6C-C072-30ACCA39C2F3}"/>
              </a:ext>
            </a:extLst>
          </p:cNvPr>
          <p:cNvSpPr txBox="1"/>
          <p:nvPr/>
        </p:nvSpPr>
        <p:spPr>
          <a:xfrm>
            <a:off x="8514557" y="4376742"/>
            <a:ext cx="3036887" cy="1107996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de-DE" sz="7200" dirty="0" err="1"/>
          </a:p>
        </p:txBody>
      </p:sp>
      <p:sp>
        <p:nvSpPr>
          <p:cNvPr id="226" name="Textfeld 225">
            <a:extLst>
              <a:ext uri="{FF2B5EF4-FFF2-40B4-BE49-F238E27FC236}">
                <a16:creationId xmlns:a16="http://schemas.microsoft.com/office/drawing/2014/main" id="{583E0E16-40CD-09C1-032C-3530A160E9B2}"/>
              </a:ext>
            </a:extLst>
          </p:cNvPr>
          <p:cNvSpPr txBox="1"/>
          <p:nvPr/>
        </p:nvSpPr>
        <p:spPr>
          <a:xfrm>
            <a:off x="1128713" y="6565901"/>
            <a:ext cx="418699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*Näherung ohne Service- und Softwareumsätze</a:t>
            </a:r>
          </a:p>
        </p:txBody>
      </p:sp>
      <p:sp>
        <p:nvSpPr>
          <p:cNvPr id="227" name="Ellipse 226">
            <a:extLst>
              <a:ext uri="{FF2B5EF4-FFF2-40B4-BE49-F238E27FC236}">
                <a16:creationId xmlns:a16="http://schemas.microsoft.com/office/drawing/2014/main" id="{96929C62-F5F6-2A75-53BD-EFFE40E52A59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714500" y="2185988"/>
            <a:ext cx="498475" cy="4984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28" name="Bogen 227">
            <a:extLst>
              <a:ext uri="{FF2B5EF4-FFF2-40B4-BE49-F238E27FC236}">
                <a16:creationId xmlns:a16="http://schemas.microsoft.com/office/drawing/2014/main" id="{BDCE635E-5C53-B71B-D895-C74A9591B9E1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1714500" y="2185988"/>
            <a:ext cx="498477" cy="498478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9" name="Textfeld 228">
            <a:extLst>
              <a:ext uri="{FF2B5EF4-FFF2-40B4-BE49-F238E27FC236}">
                <a16:creationId xmlns:a16="http://schemas.microsoft.com/office/drawing/2014/main" id="{6C88773E-38A8-D201-E760-309C9A69C7CF}"/>
              </a:ext>
            </a:extLst>
          </p:cNvPr>
          <p:cNvSpPr txBox="1"/>
          <p:nvPr/>
        </p:nvSpPr>
        <p:spPr>
          <a:xfrm>
            <a:off x="2168525" y="2200603"/>
            <a:ext cx="276203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/>
              <a:t>ca. abgebildeter Anteil Gruppenumsatz TRUMPF*</a:t>
            </a:r>
          </a:p>
        </p:txBody>
      </p:sp>
    </p:spTree>
    <p:extLst>
      <p:ext uri="{BB962C8B-B14F-4D97-AF65-F5344CB8AC3E}">
        <p14:creationId xmlns:p14="http://schemas.microsoft.com/office/powerpoint/2010/main" val="16603998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3F4BFB-987B-1DEA-A2CB-B5DAE0B35C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5124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473" imgH="473" progId="TCLayout.ActiveDocument.1">
                  <p:embed/>
                </p:oleObj>
              </mc:Choice>
              <mc:Fallback>
                <p:oleObj name="think-cell Folie" r:id="rId35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3F4BFB-987B-1DEA-A2CB-B5DAE0B35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008C13E-07A0-6877-90B6-1FD143156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msatzentwicklung durch Engpas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35DDF0B-ED90-FB21-B832-174A765A2E8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rfolg durch </a:t>
            </a:r>
            <a:r>
              <a:rPr lang="de-DE" i="1" dirty="0"/>
              <a:t>(</a:t>
            </a:r>
            <a:r>
              <a:rPr lang="de-DE" i="1" dirty="0" err="1"/>
              <a:t>un</a:t>
            </a:r>
            <a:r>
              <a:rPr lang="de-DE" i="1" dirty="0"/>
              <a:t>)</a:t>
            </a:r>
            <a:r>
              <a:rPr lang="de-DE" dirty="0"/>
              <a:t>bewusste Umsatzsicherung von Produkten mit hohem Gruppenbeitrag </a:t>
            </a:r>
          </a:p>
        </p:txBody>
      </p:sp>
      <p:cxnSp>
        <p:nvCxnSpPr>
          <p:cNvPr id="255" name="Gerader Verbinder 254">
            <a:extLst>
              <a:ext uri="{FF2B5EF4-FFF2-40B4-BE49-F238E27FC236}">
                <a16:creationId xmlns:a16="http://schemas.microsoft.com/office/drawing/2014/main" id="{DF418466-E6D1-997F-F3A2-236239ACEC6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1287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Gerader Verbinder 255">
            <a:extLst>
              <a:ext uri="{FF2B5EF4-FFF2-40B4-BE49-F238E27FC236}">
                <a16:creationId xmlns:a16="http://schemas.microsoft.com/office/drawing/2014/main" id="{1E519A76-44B7-8BAA-F383-D8C04573140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168525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B3A98F8B-041E-85E0-2B6E-D151A33A445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19246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BD4039BA-5796-5B8D-EB8F-660BF72CFBE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148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CF769332-45ED-E208-E48F-CA824324E56F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2054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Gerader Verbinder 259">
            <a:extLst>
              <a:ext uri="{FF2B5EF4-FFF2-40B4-BE49-F238E27FC236}">
                <a16:creationId xmlns:a16="http://schemas.microsoft.com/office/drawing/2014/main" id="{2E8C90A8-8917-E5B4-EBF7-09D191699E9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22935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7EFBBBD-756E-3275-3AC3-618EDDAB417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25170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Gerader Verbinder 261">
            <a:extLst>
              <a:ext uri="{FF2B5EF4-FFF2-40B4-BE49-F238E27FC236}">
                <a16:creationId xmlns:a16="http://schemas.microsoft.com/office/drawing/2014/main" id="{C281940F-0F35-61CF-F190-704B65701E2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2915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4C87E28-89F8-F1DF-F6C7-5F879F45C33D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31545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Gerader Verbinder 263">
            <a:extLst>
              <a:ext uri="{FF2B5EF4-FFF2-40B4-BE49-F238E27FC236}">
                <a16:creationId xmlns:a16="http://schemas.microsoft.com/office/drawing/2014/main" id="{117981A3-2C1A-2BC2-E39A-E8E26DC6E6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339388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2" name="Gerader Verbinder 421">
            <a:extLst>
              <a:ext uri="{FF2B5EF4-FFF2-40B4-BE49-F238E27FC236}">
                <a16:creationId xmlns:a16="http://schemas.microsoft.com/office/drawing/2014/main" id="{42B96E2F-C8EF-1CAA-D3ED-ABAB4B6A41D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132840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65257828-CEB6-5317-B06B-925F4BC32674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16847685"/>
              </p:ext>
            </p:extLst>
          </p:nvPr>
        </p:nvGraphicFramePr>
        <p:xfrm>
          <a:off x="574675" y="1822450"/>
          <a:ext cx="10836275" cy="3894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252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09002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066BED6-F881-4634-BE95-34DE8760F359}" type="datetime'''''''''''''1''''''1''''''/''''2''''''''2'''''''''''''">
              <a:rPr lang="de-DE" altLang="en-US" sz="1400" smtClean="0">
                <a:cs typeface="+mn-cs"/>
              </a:rPr>
              <a:pPr/>
              <a:t>11/22</a:t>
            </a:fld>
            <a:endParaRPr lang="de-DE" sz="1400" dirty="0">
              <a:cs typeface="+mn-cs"/>
            </a:endParaRPr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032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2CDE2DB-3598-474A-BE60-9F402DB0651A}" type="datetime'''''''''''0''7''''''''''''/''2''''''''''1'''''">
              <a:rPr lang="de-DE" altLang="en-US" sz="1400" smtClean="0">
                <a:cs typeface="+mn-cs"/>
              </a:rPr>
              <a:pPr/>
              <a:t>07/21</a:t>
            </a:fld>
            <a:endParaRPr lang="de-DE" sz="1400" dirty="0">
              <a:cs typeface="+mn-cs"/>
            </a:endParaRPr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96703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842F6B0-B0FC-4661-9273-97C6298974AD}" type="datetime'''''1''''''''''''''''''1/''''''2''''''''1'''''''">
              <a:rPr lang="de-DE" altLang="en-US" sz="1400" smtClean="0">
                <a:cs typeface="+mn-cs"/>
              </a:rPr>
              <a:pPr/>
              <a:t>11/21</a:t>
            </a:fld>
            <a:endParaRPr lang="de-DE" sz="1400" dirty="0">
              <a:cs typeface="+mn-cs"/>
            </a:endParaRPr>
          </a:p>
        </p:txBody>
      </p:sp>
      <p:sp>
        <p:nvSpPr>
          <p:cNvPr id="245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943100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20B7B22-2D96-4964-9873-5926833DC940}" type="datetime'''''''''''0''''''''''''''''''''''''''''9''''/''''''2''''1'">
              <a:rPr lang="de-DE" altLang="en-US" sz="1400" smtClean="0">
                <a:cs typeface="+mn-cs"/>
              </a:rPr>
              <a:pPr/>
              <a:t>09/21</a:t>
            </a:fld>
            <a:endParaRPr lang="de-DE" sz="1400" dirty="0">
              <a:cs typeface="+mn-cs"/>
            </a:endParaRPr>
          </a:p>
        </p:txBody>
      </p:sp>
      <p:sp>
        <p:nvSpPr>
          <p:cNvPr id="42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10297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C7909D1-B9FD-45BB-8BC5-C14FF8ADF03C}" type="datetime'''''''''''''''0''''3''''''''''''''''''''''''/''''23'''''">
              <a:rPr lang="de-DE" altLang="en-US" sz="1400" smtClean="0">
                <a:effectLst/>
                <a:cs typeface="+mn-cs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03/23</a:t>
            </a:fld>
            <a:endParaRPr lang="de-DE" sz="1400" dirty="0">
              <a:cs typeface="+mn-cs"/>
            </a:endParaRPr>
          </a:p>
        </p:txBody>
      </p:sp>
      <p:sp>
        <p:nvSpPr>
          <p:cNvPr id="247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9893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A9FB022-CF10-4132-9279-EE36AF106DD6}" type="datetime'''0''''''''''''''''''1''''''''''/''''''''''2''''''''''''2'''">
              <a:rPr lang="de-DE" altLang="en-US" sz="1400" smtClean="0">
                <a:cs typeface="+mn-cs"/>
              </a:rPr>
              <a:pPr/>
              <a:t>01/22</a:t>
            </a:fld>
            <a:endParaRPr lang="de-DE" sz="1400" dirty="0">
              <a:cs typeface="+mn-cs"/>
            </a:endParaRPr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799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5D61BE9-D6E4-4764-9A1E-8C0B7C961E03}" type="datetime'0''''''''''''''3''''/''''''''''''''''''2''''2'''''''''''''''''">
              <a:rPr lang="de-DE" altLang="en-US" sz="1400" smtClean="0">
                <a:cs typeface="+mn-cs"/>
              </a:rPr>
              <a:pPr/>
              <a:t>03/22</a:t>
            </a:fld>
            <a:endParaRPr lang="de-DE" sz="1400" dirty="0">
              <a:cs typeface="+mn-cs"/>
            </a:endParaRPr>
          </a:p>
        </p:txBody>
      </p:sp>
      <p:sp>
        <p:nvSpPr>
          <p:cNvPr id="249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00392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3AE742F-636D-4FF0-BDD8-E016FC4AE501}" type="datetime'''''''0''''''''''''''5''/''''2''''''''2'''''''">
              <a:rPr lang="de-DE" altLang="en-US" sz="1400" smtClean="0">
                <a:cs typeface="+mn-cs"/>
              </a:rPr>
              <a:pPr/>
              <a:t>05/22</a:t>
            </a:fld>
            <a:endParaRPr lang="de-DE" sz="1400" dirty="0">
              <a:cs typeface="+mn-cs"/>
            </a:endParaRPr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02627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F6C7FA0-5ECA-498F-862B-0A7B92DB03FA}" type="datetime'''''0''''''''''''''''''''''''''''''7''/''''2''''''''''''2'''''">
              <a:rPr lang="de-DE" altLang="en-US" sz="1400" smtClean="0">
                <a:cs typeface="+mn-cs"/>
              </a:rPr>
              <a:pPr/>
              <a:t>07/22</a:t>
            </a:fld>
            <a:endParaRPr lang="de-DE" sz="1400" dirty="0">
              <a:cs typeface="+mn-cs"/>
            </a:endParaRPr>
          </a:p>
        </p:txBody>
      </p:sp>
      <p:sp>
        <p:nvSpPr>
          <p:cNvPr id="25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0660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A505660-0F79-41D4-8EF7-C5DA8D28A41E}" type="datetime'''''0''''''9''''''''/''''''''2''''''''''''2'''''">
              <a:rPr lang="de-DE" altLang="en-US" sz="1400" smtClean="0">
                <a:cs typeface="+mn-cs"/>
              </a:rPr>
              <a:pPr/>
              <a:t>09/22</a:t>
            </a:fld>
            <a:endParaRPr lang="de-DE" sz="1400" dirty="0">
              <a:cs typeface="+mn-cs"/>
            </a:endParaRPr>
          </a:p>
        </p:txBody>
      </p:sp>
      <p:sp>
        <p:nvSpPr>
          <p:cNvPr id="25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113963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76F7D37-A57F-4980-9C4F-26C34F261EFD}" type="datetime'''''0''''''''''''''1''''''''''''''''''/2''''3'">
              <a:rPr lang="de-DE" altLang="en-US" sz="1400" smtClean="0">
                <a:cs typeface="+mn-cs"/>
              </a:rPr>
              <a:pPr/>
              <a:t>01/23</a:t>
            </a:fld>
            <a:endParaRPr lang="de-DE" sz="1400" dirty="0">
              <a:cs typeface="+mn-cs"/>
            </a:endParaRPr>
          </a:p>
        </p:txBody>
      </p:sp>
      <p:cxnSp>
        <p:nvCxnSpPr>
          <p:cNvPr id="312" name="Gerader Verbinder 311">
            <a:extLst>
              <a:ext uri="{FF2B5EF4-FFF2-40B4-BE49-F238E27FC236}">
                <a16:creationId xmlns:a16="http://schemas.microsoft.com/office/drawing/2014/main" id="{1BDC2AE8-2D07-A94A-7A6E-F685EE180C3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28713" y="4189413"/>
            <a:ext cx="1019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62025" y="1635125"/>
            <a:ext cx="334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100" dirty="0">
                <a:effectLst/>
                <a:cs typeface="+mn-cs"/>
              </a:rPr>
              <a:t>Index</a:t>
            </a:r>
            <a:endParaRPr lang="de-DE" sz="1400" dirty="0">
              <a:cs typeface="+mn-cs"/>
            </a:endParaRPr>
          </a:p>
        </p:txBody>
      </p: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A6768664-E408-DBFF-9BEC-84C36C7E7811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3778250" y="6234113"/>
            <a:ext cx="231775" cy="0"/>
          </a:xfrm>
          <a:prstGeom prst="line">
            <a:avLst/>
          </a:prstGeom>
          <a:ln w="19050" cap="rnd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079E1550-10F9-C77A-2FDC-3091DCD17333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6145213" y="6234113"/>
            <a:ext cx="222250" cy="0"/>
          </a:xfrm>
          <a:prstGeom prst="line">
            <a:avLst/>
          </a:prstGeom>
          <a:ln w="28575" cap="rnd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070350" y="6135688"/>
            <a:ext cx="1958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6A385F17-C634-47DC-B0DB-BFD4083B8D63}" type="datetime'''geri''ng''''''e''r'' ''Gru''p''''pe''nbe''i''''''''''t''rag'">
              <a:rPr lang="de-DE" altLang="en-US" sz="1400" smtClean="0">
                <a:effectLst/>
                <a:cs typeface="+mn-cs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geringer Gruppenbeitrag</a:t>
            </a:fld>
            <a:endParaRPr lang="de-DE" sz="1400" dirty="0">
              <a:cs typeface="+mn-cs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A0C43F60-2AD1-A3EC-F606-B09FEAFC42F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432550" y="6135688"/>
            <a:ext cx="1755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F9DA05DE-C1BD-4B53-BEDA-366244E90B4E}" type="datetime'''''''''h''''oher'''''' G''rup''p''''''enb''eitr''''''''ag'">
              <a:rPr lang="de-DE" altLang="en-US" sz="1400" smtClean="0">
                <a:cs typeface="+mn-cs"/>
              </a:rPr>
              <a:pPr/>
              <a:t>hoher Gruppenbeitrag</a:t>
            </a:fld>
            <a:endParaRPr lang="de-DE" sz="1400" dirty="0">
              <a:cs typeface="+mn-cs"/>
            </a:endParaRP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403DAB70-0BDB-F3D9-FB3E-26E44BE68F36}"/>
              </a:ext>
            </a:extLst>
          </p:cNvPr>
          <p:cNvSpPr/>
          <p:nvPr/>
        </p:nvSpPr>
        <p:spPr>
          <a:xfrm rot="5400000">
            <a:off x="9499603" y="1204488"/>
            <a:ext cx="1066796" cy="2590799"/>
          </a:xfrm>
          <a:prstGeom prst="downArrow">
            <a:avLst/>
          </a:prstGeom>
          <a:solidFill>
            <a:schemeClr val="accent5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31" name="Pfeil: nach unten 30">
            <a:extLst>
              <a:ext uri="{FF2B5EF4-FFF2-40B4-BE49-F238E27FC236}">
                <a16:creationId xmlns:a16="http://schemas.microsoft.com/office/drawing/2014/main" id="{FD6F108F-C444-CD8D-6E9F-63289D85AAE3}"/>
              </a:ext>
            </a:extLst>
          </p:cNvPr>
          <p:cNvSpPr/>
          <p:nvPr/>
        </p:nvSpPr>
        <p:spPr>
          <a:xfrm rot="5400000">
            <a:off x="9527860" y="3614741"/>
            <a:ext cx="1066796" cy="2590799"/>
          </a:xfrm>
          <a:prstGeom prst="downArrow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471" name="Textfeld 470">
            <a:extLst>
              <a:ext uri="{FF2B5EF4-FFF2-40B4-BE49-F238E27FC236}">
                <a16:creationId xmlns:a16="http://schemas.microsoft.com/office/drawing/2014/main" id="{A1530FBC-7DEC-9D81-1F82-74228BB8666B}"/>
              </a:ext>
            </a:extLst>
          </p:cNvPr>
          <p:cNvSpPr txBox="1"/>
          <p:nvPr/>
        </p:nvSpPr>
        <p:spPr>
          <a:xfrm>
            <a:off x="9315450" y="2345998"/>
            <a:ext cx="19859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000" b="1" cap="small" dirty="0"/>
              <a:t>Wachstum</a:t>
            </a:r>
          </a:p>
        </p:txBody>
      </p:sp>
      <p:sp>
        <p:nvSpPr>
          <p:cNvPr id="472" name="Textfeld 471">
            <a:extLst>
              <a:ext uri="{FF2B5EF4-FFF2-40B4-BE49-F238E27FC236}">
                <a16:creationId xmlns:a16="http://schemas.microsoft.com/office/drawing/2014/main" id="{7E35FF84-25B3-28B4-30C5-023243FFCCC3}"/>
              </a:ext>
            </a:extLst>
          </p:cNvPr>
          <p:cNvSpPr txBox="1"/>
          <p:nvPr/>
        </p:nvSpPr>
        <p:spPr>
          <a:xfrm>
            <a:off x="9315450" y="4756251"/>
            <a:ext cx="19859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000" b="1" cap="small" dirty="0">
                <a:solidFill>
                  <a:schemeClr val="bg1"/>
                </a:solidFill>
              </a:rPr>
              <a:t>Rückgang</a:t>
            </a:r>
          </a:p>
        </p:txBody>
      </p:sp>
      <p:sp>
        <p:nvSpPr>
          <p:cNvPr id="473" name="Textfeld 472">
            <a:extLst>
              <a:ext uri="{FF2B5EF4-FFF2-40B4-BE49-F238E27FC236}">
                <a16:creationId xmlns:a16="http://schemas.microsoft.com/office/drawing/2014/main" id="{5FD1B317-9CD0-E4F7-7567-08F1C79F3C4B}"/>
              </a:ext>
            </a:extLst>
          </p:cNvPr>
          <p:cNvSpPr txBox="1"/>
          <p:nvPr/>
        </p:nvSpPr>
        <p:spPr>
          <a:xfrm>
            <a:off x="8542814" y="1841462"/>
            <a:ext cx="3036887" cy="1375933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de-DE" dirty="0" err="1"/>
          </a:p>
        </p:txBody>
      </p:sp>
      <p:sp>
        <p:nvSpPr>
          <p:cNvPr id="475" name="Textfeld 474">
            <a:extLst>
              <a:ext uri="{FF2B5EF4-FFF2-40B4-BE49-F238E27FC236}">
                <a16:creationId xmlns:a16="http://schemas.microsoft.com/office/drawing/2014/main" id="{295D98B2-26BD-7D6C-C072-30ACCA39C2F3}"/>
              </a:ext>
            </a:extLst>
          </p:cNvPr>
          <p:cNvSpPr txBox="1"/>
          <p:nvPr/>
        </p:nvSpPr>
        <p:spPr>
          <a:xfrm>
            <a:off x="8514557" y="4376742"/>
            <a:ext cx="3036887" cy="1107996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de-DE" sz="7200" dirty="0" err="1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60E57502-C88F-D6A1-AC14-CBC66C919B5E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714500" y="2185988"/>
            <a:ext cx="498475" cy="4984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8" name="Bogen 17">
            <a:extLst>
              <a:ext uri="{FF2B5EF4-FFF2-40B4-BE49-F238E27FC236}">
                <a16:creationId xmlns:a16="http://schemas.microsoft.com/office/drawing/2014/main" id="{E29C4D25-39BF-B3E6-DE7D-910965D7F029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1714500" y="2185988"/>
            <a:ext cx="498474" cy="498474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E6E49DF0-07F2-E988-C123-85FF483629A2}"/>
              </a:ext>
            </a:extLst>
          </p:cNvPr>
          <p:cNvSpPr txBox="1"/>
          <p:nvPr/>
        </p:nvSpPr>
        <p:spPr>
          <a:xfrm>
            <a:off x="2168525" y="2200603"/>
            <a:ext cx="276203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/>
              <a:t>ca. abgebildeter Anteil Gruppenumsatz TRUMPF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A3B98D8-BDE5-913F-F03F-ED3F027246E6}"/>
              </a:ext>
            </a:extLst>
          </p:cNvPr>
          <p:cNvSpPr txBox="1"/>
          <p:nvPr/>
        </p:nvSpPr>
        <p:spPr>
          <a:xfrm>
            <a:off x="1128713" y="6565901"/>
            <a:ext cx="418699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*Näherung ohne Service- und Softwareumsätze</a:t>
            </a:r>
          </a:p>
        </p:txBody>
      </p:sp>
    </p:spTree>
    <p:extLst>
      <p:ext uri="{BB962C8B-B14F-4D97-AF65-F5344CB8AC3E}">
        <p14:creationId xmlns:p14="http://schemas.microsoft.com/office/powerpoint/2010/main" val="48097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3F4BFB-987B-1DEA-A2CB-B5DAE0B35C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699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473" imgH="473" progId="TCLayout.ActiveDocument.1">
                  <p:embed/>
                </p:oleObj>
              </mc:Choice>
              <mc:Fallback>
                <p:oleObj name="think-cell Folie" r:id="rId36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3F4BFB-987B-1DEA-A2CB-B5DAE0B35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ADB8F3B-BE40-3508-80D1-5F000B1B5BC2}"/>
              </a:ext>
            </a:extLst>
          </p:cNvPr>
          <p:cNvGrpSpPr/>
          <p:nvPr/>
        </p:nvGrpSpPr>
        <p:grpSpPr>
          <a:xfrm>
            <a:off x="8542814" y="1841460"/>
            <a:ext cx="3036887" cy="1375933"/>
            <a:chOff x="8542814" y="-8123"/>
            <a:chExt cx="3036887" cy="1375933"/>
          </a:xfrm>
        </p:grpSpPr>
        <p:sp>
          <p:nvSpPr>
            <p:cNvPr id="28" name="Pfeil: nach unten 27">
              <a:extLst>
                <a:ext uri="{FF2B5EF4-FFF2-40B4-BE49-F238E27FC236}">
                  <a16:creationId xmlns:a16="http://schemas.microsoft.com/office/drawing/2014/main" id="{403DAB70-0BDB-F3D9-FB3E-26E44BE68F36}"/>
                </a:ext>
              </a:extLst>
            </p:cNvPr>
            <p:cNvSpPr/>
            <p:nvPr/>
          </p:nvSpPr>
          <p:spPr>
            <a:xfrm rot="5400000">
              <a:off x="9499603" y="-645097"/>
              <a:ext cx="1066796" cy="2590799"/>
            </a:xfrm>
            <a:prstGeom prst="downArrow">
              <a:avLst/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471" name="Textfeld 470">
              <a:extLst>
                <a:ext uri="{FF2B5EF4-FFF2-40B4-BE49-F238E27FC236}">
                  <a16:creationId xmlns:a16="http://schemas.microsoft.com/office/drawing/2014/main" id="{A1530FBC-7DEC-9D81-1F82-74228BB8666B}"/>
                </a:ext>
              </a:extLst>
            </p:cNvPr>
            <p:cNvSpPr txBox="1"/>
            <p:nvPr/>
          </p:nvSpPr>
          <p:spPr>
            <a:xfrm>
              <a:off x="9315450" y="496413"/>
              <a:ext cx="198590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2000" b="1" cap="small" dirty="0"/>
                <a:t>Wachstum</a:t>
              </a:r>
            </a:p>
          </p:txBody>
        </p:sp>
        <p:sp>
          <p:nvSpPr>
            <p:cNvPr id="473" name="Textfeld 472">
              <a:extLst>
                <a:ext uri="{FF2B5EF4-FFF2-40B4-BE49-F238E27FC236}">
                  <a16:creationId xmlns:a16="http://schemas.microsoft.com/office/drawing/2014/main" id="{5FD1B317-9CD0-E4F7-7567-08F1C79F3C4B}"/>
                </a:ext>
              </a:extLst>
            </p:cNvPr>
            <p:cNvSpPr txBox="1"/>
            <p:nvPr/>
          </p:nvSpPr>
          <p:spPr>
            <a:xfrm>
              <a:off x="8542814" y="-8123"/>
              <a:ext cx="3036887" cy="1375933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endParaRPr lang="de-DE" dirty="0" err="1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008C13E-07A0-6877-90B6-1FD143156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msatzentwicklung durch Engpas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35DDF0B-ED90-FB21-B832-174A765A2E8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rfolg durch </a:t>
            </a:r>
            <a:r>
              <a:rPr lang="de-DE" i="1" dirty="0"/>
              <a:t>(</a:t>
            </a:r>
            <a:r>
              <a:rPr lang="de-DE" i="1" dirty="0" err="1"/>
              <a:t>un</a:t>
            </a:r>
            <a:r>
              <a:rPr lang="de-DE" i="1" dirty="0"/>
              <a:t>)</a:t>
            </a:r>
            <a:r>
              <a:rPr lang="de-DE" dirty="0"/>
              <a:t>bewusste Umsatzsicherung von Produkten mit hohem Gruppenbeitrag </a:t>
            </a:r>
          </a:p>
        </p:txBody>
      </p: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CF769332-45ED-E208-E48F-CA824324E56F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52054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B3A98F8B-041E-85E0-2B6E-D151A33A445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19246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Gerader Verbinder 254">
            <a:extLst>
              <a:ext uri="{FF2B5EF4-FFF2-40B4-BE49-F238E27FC236}">
                <a16:creationId xmlns:a16="http://schemas.microsoft.com/office/drawing/2014/main" id="{DF418466-E6D1-997F-F3A2-236239ACEC6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1287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Gerader Verbinder 255">
            <a:extLst>
              <a:ext uri="{FF2B5EF4-FFF2-40B4-BE49-F238E27FC236}">
                <a16:creationId xmlns:a16="http://schemas.microsoft.com/office/drawing/2014/main" id="{1E519A76-44B7-8BAA-F383-D8C04573140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168525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BD4039BA-5796-5B8D-EB8F-660BF72CFBE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2148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Gerader Verbinder 259">
            <a:extLst>
              <a:ext uri="{FF2B5EF4-FFF2-40B4-BE49-F238E27FC236}">
                <a16:creationId xmlns:a16="http://schemas.microsoft.com/office/drawing/2014/main" id="{2E8C90A8-8917-E5B4-EBF7-09D191699E9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22935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7EFBBBD-756E-3275-3AC3-618EDDAB417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25170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Gerader Verbinder 261">
            <a:extLst>
              <a:ext uri="{FF2B5EF4-FFF2-40B4-BE49-F238E27FC236}">
                <a16:creationId xmlns:a16="http://schemas.microsoft.com/office/drawing/2014/main" id="{C281940F-0F35-61CF-F190-704B65701E2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291513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4C87E28-89F8-F1DF-F6C7-5F879F45C33D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31545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Gerader Verbinder 263">
            <a:extLst>
              <a:ext uri="{FF2B5EF4-FFF2-40B4-BE49-F238E27FC236}">
                <a16:creationId xmlns:a16="http://schemas.microsoft.com/office/drawing/2014/main" id="{117981A3-2C1A-2BC2-E39A-E8E26DC6E6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339388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2" name="Gerader Verbinder 421">
            <a:extLst>
              <a:ext uri="{FF2B5EF4-FFF2-40B4-BE49-F238E27FC236}">
                <a16:creationId xmlns:a16="http://schemas.microsoft.com/office/drawing/2014/main" id="{42B96E2F-C8EF-1CAA-D3ED-ABAB4B6A41D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1328400" y="5588000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8D2B3CBD-F28A-A696-227D-9240FAF33ED2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07877717"/>
              </p:ext>
            </p:extLst>
          </p:nvPr>
        </p:nvGraphicFramePr>
        <p:xfrm>
          <a:off x="574675" y="1822450"/>
          <a:ext cx="10836275" cy="3894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47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9893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A9FB022-CF10-4132-9279-EE36AF106DD6}" type="datetime'''0''''''''''''''''''1''''''''''/''''''''''2''''''''''''2'''">
              <a:rPr lang="de-DE" altLang="en-US" sz="1400" smtClean="0">
                <a:cs typeface="+mn-cs"/>
              </a:rPr>
              <a:pPr/>
              <a:t>01/22</a:t>
            </a:fld>
            <a:endParaRPr lang="de-DE" sz="1400" dirty="0">
              <a:cs typeface="+mn-cs"/>
            </a:endParaRPr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6703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842F6B0-B0FC-4661-9273-97C6298974AD}" type="datetime'''''1''''''''''''''''''1/''''''2''''''''1'''''''">
              <a:rPr lang="de-DE" altLang="en-US" sz="1400" smtClean="0">
                <a:cs typeface="+mn-cs"/>
              </a:rPr>
              <a:pPr/>
              <a:t>11/21</a:t>
            </a:fld>
            <a:endParaRPr lang="de-DE" sz="1400" dirty="0">
              <a:cs typeface="+mn-cs"/>
            </a:endParaRPr>
          </a:p>
        </p:txBody>
      </p:sp>
      <p:sp>
        <p:nvSpPr>
          <p:cNvPr id="42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110297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C7909D1-B9FD-45BB-8BC5-C14FF8ADF03C}" type="datetime'''''''''''''''0''''3''''''''''''''''''''''''/''''23'''''">
              <a:rPr lang="de-DE" altLang="en-US" sz="1400" smtClean="0">
                <a:effectLst/>
                <a:cs typeface="+mn-cs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03/23</a:t>
            </a:fld>
            <a:endParaRPr lang="de-DE" sz="1400" dirty="0">
              <a:cs typeface="+mn-cs"/>
            </a:endParaRPr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032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2CDE2DB-3598-474A-BE60-9F402DB0651A}" type="datetime'''''''''''0''7''''''''''''/''2''''''''''1'''''">
              <a:rPr lang="de-DE" altLang="en-US" sz="1400" smtClean="0">
                <a:cs typeface="+mn-cs"/>
              </a:rPr>
              <a:pPr/>
              <a:t>07/21</a:t>
            </a:fld>
            <a:endParaRPr lang="de-DE" sz="1400" dirty="0">
              <a:cs typeface="+mn-cs"/>
            </a:endParaRPr>
          </a:p>
        </p:txBody>
      </p:sp>
      <p:sp>
        <p:nvSpPr>
          <p:cNvPr id="245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943100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20B7B22-2D96-4964-9873-5926833DC940}" type="datetime'''''''''''0''''''''''''''''''''''''''''9''''/''''''2''''1'">
              <a:rPr lang="de-DE" altLang="en-US" sz="1400" smtClean="0">
                <a:cs typeface="+mn-cs"/>
              </a:rPr>
              <a:pPr/>
              <a:t>09/21</a:t>
            </a:fld>
            <a:endParaRPr lang="de-DE" sz="1400" dirty="0">
              <a:cs typeface="+mn-cs"/>
            </a:endParaRPr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9799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5D61BE9-D6E4-4764-9A1E-8C0B7C961E03}" type="datetime'0''''''''''''''3''''/''''''''''''''''''2''''2'''''''''''''''''">
              <a:rPr lang="de-DE" altLang="en-US" sz="1400" smtClean="0">
                <a:cs typeface="+mn-cs"/>
              </a:rPr>
              <a:pPr/>
              <a:t>03/22</a:t>
            </a:fld>
            <a:endParaRPr lang="de-DE" sz="1400" dirty="0">
              <a:cs typeface="+mn-cs"/>
            </a:endParaRPr>
          </a:p>
        </p:txBody>
      </p:sp>
      <p:sp>
        <p:nvSpPr>
          <p:cNvPr id="249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00392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3AE742F-636D-4FF0-BDD8-E016FC4AE501}" type="datetime'''''''0''''''''''''''5''/''''2''''''''2'''''''">
              <a:rPr lang="de-DE" altLang="en-US" sz="1400" smtClean="0">
                <a:cs typeface="+mn-cs"/>
              </a:rPr>
              <a:pPr/>
              <a:t>05/22</a:t>
            </a:fld>
            <a:endParaRPr lang="de-DE" sz="1400" dirty="0">
              <a:cs typeface="+mn-cs"/>
            </a:endParaRPr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02627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F6C7FA0-5ECA-498F-862B-0A7B92DB03FA}" type="datetime'''''0''''''''''''''''''''''''''''''7''/''''2''''''''''''2'''''">
              <a:rPr lang="de-DE" altLang="en-US" sz="1400" smtClean="0">
                <a:cs typeface="+mn-cs"/>
              </a:rPr>
              <a:pPr/>
              <a:t>07/22</a:t>
            </a:fld>
            <a:endParaRPr lang="de-DE" sz="1400" dirty="0">
              <a:cs typeface="+mn-cs"/>
            </a:endParaRPr>
          </a:p>
        </p:txBody>
      </p:sp>
      <p:sp>
        <p:nvSpPr>
          <p:cNvPr id="25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066088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A505660-0F79-41D4-8EF7-C5DA8D28A41E}" type="datetime'''''0''''''9''''''''/''''''''2''''''''''''2'''''">
              <a:rPr lang="de-DE" altLang="en-US" sz="1400" smtClean="0">
                <a:cs typeface="+mn-cs"/>
              </a:rPr>
              <a:pPr/>
              <a:t>09/22</a:t>
            </a:fld>
            <a:endParaRPr lang="de-DE" sz="1400" dirty="0">
              <a:cs typeface="+mn-cs"/>
            </a:endParaRPr>
          </a:p>
        </p:txBody>
      </p:sp>
      <p:sp>
        <p:nvSpPr>
          <p:cNvPr id="252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090025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066BED6-F881-4634-BE95-34DE8760F359}" type="datetime'''''''''''''1''''''1''''''/''''2''''''''2'''''''''''''">
              <a:rPr lang="de-DE" altLang="en-US" sz="1400" smtClean="0">
                <a:cs typeface="+mn-cs"/>
              </a:rPr>
              <a:pPr/>
              <a:t>11/22</a:t>
            </a:fld>
            <a:endParaRPr lang="de-DE" sz="1400" dirty="0">
              <a:cs typeface="+mn-cs"/>
            </a:endParaRPr>
          </a:p>
        </p:txBody>
      </p:sp>
      <p:sp>
        <p:nvSpPr>
          <p:cNvPr id="25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113963" y="5705475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76F7D37-A57F-4980-9C4F-26C34F261EFD}" type="datetime'''''0''''''''''''''1''''''''''''''''''/2''''3'">
              <a:rPr lang="de-DE" altLang="en-US" sz="1400" smtClean="0">
                <a:cs typeface="+mn-cs"/>
              </a:rPr>
              <a:pPr/>
              <a:t>01/23</a:t>
            </a:fld>
            <a:endParaRPr lang="de-DE" sz="1400" dirty="0">
              <a:cs typeface="+mn-cs"/>
            </a:endParaRPr>
          </a:p>
        </p:txBody>
      </p:sp>
      <p:cxnSp>
        <p:nvCxnSpPr>
          <p:cNvPr id="312" name="Gerader Verbinder 311">
            <a:extLst>
              <a:ext uri="{FF2B5EF4-FFF2-40B4-BE49-F238E27FC236}">
                <a16:creationId xmlns:a16="http://schemas.microsoft.com/office/drawing/2014/main" id="{1BDC2AE8-2D07-A94A-7A6E-F685EE180C3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28713" y="4189413"/>
            <a:ext cx="1019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62026" y="1635125"/>
            <a:ext cx="334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100" dirty="0">
                <a:effectLst/>
                <a:cs typeface="+mn-cs"/>
              </a:rPr>
              <a:t>Index</a:t>
            </a:r>
            <a:endParaRPr lang="de-DE" sz="1400" dirty="0">
              <a:cs typeface="+mn-cs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24F49DE-8D32-FA2E-3C05-20F08C869DC8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8308975" y="6234113"/>
            <a:ext cx="212725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A6768664-E408-DBFF-9BEC-84C36C7E781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3778250" y="6234113"/>
            <a:ext cx="231775" cy="0"/>
          </a:xfrm>
          <a:prstGeom prst="line">
            <a:avLst/>
          </a:prstGeom>
          <a:ln w="19050" cap="rnd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079E1550-10F9-C77A-2FDC-3091DCD1733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6145213" y="6234113"/>
            <a:ext cx="222250" cy="0"/>
          </a:xfrm>
          <a:prstGeom prst="line">
            <a:avLst/>
          </a:prstGeom>
          <a:ln w="28575" cap="rnd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0350" y="6135688"/>
            <a:ext cx="1958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6A385F17-C634-47DC-B0DB-BFD4083B8D63}" type="datetime'''geri''ng''''''e''r'' ''Gru''p''''pe''nbe''i''''''''''t''rag'">
              <a:rPr lang="de-DE" altLang="en-US" sz="1400" smtClean="0">
                <a:effectLst/>
                <a:cs typeface="+mn-cs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geringer Gruppenbeitrag</a:t>
            </a:fld>
            <a:endParaRPr lang="de-DE" sz="1400" dirty="0">
              <a:cs typeface="+mn-cs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A0C43F60-2AD1-A3EC-F606-B09FEAFC42F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432550" y="6135688"/>
            <a:ext cx="1755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F9DA05DE-C1BD-4B53-BEDA-366244E90B4E}" type="datetime'''''''''h''''oher'''''' G''rup''p''''''enb''eitr''''''''ag'">
              <a:rPr lang="de-DE" altLang="en-US" sz="1400" smtClean="0">
                <a:cs typeface="+mn-cs"/>
              </a:rPr>
              <a:pPr/>
              <a:t>hoher Gruppenbeitrag</a:t>
            </a:fld>
            <a:endParaRPr lang="de-DE" sz="1400" dirty="0">
              <a:cs typeface="+mn-cs"/>
            </a:endParaRP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7B86DC3-EE07-8319-F85B-24AD1508803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591550" y="6135688"/>
            <a:ext cx="698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954EC51C-BA7E-4CA8-881E-2A686833DADC}" type="datetime'''''''''''''S''''''''''''''e''''''m''''''''''i''C''o''''''n'''">
              <a:rPr lang="de-DE" altLang="en-US" sz="1400" smtClean="0">
                <a:cs typeface="+mn-cs"/>
              </a:rPr>
              <a:pPr/>
              <a:t>SemiCon</a:t>
            </a:fld>
            <a:endParaRPr lang="de-DE" sz="1400" dirty="0">
              <a:cs typeface="+mn-cs"/>
            </a:endParaRPr>
          </a:p>
        </p:txBody>
      </p:sp>
      <p:sp>
        <p:nvSpPr>
          <p:cNvPr id="31" name="Pfeil: nach unten 30">
            <a:extLst>
              <a:ext uri="{FF2B5EF4-FFF2-40B4-BE49-F238E27FC236}">
                <a16:creationId xmlns:a16="http://schemas.microsoft.com/office/drawing/2014/main" id="{FD6F108F-C444-CD8D-6E9F-63289D85AAE3}"/>
              </a:ext>
            </a:extLst>
          </p:cNvPr>
          <p:cNvSpPr/>
          <p:nvPr/>
        </p:nvSpPr>
        <p:spPr>
          <a:xfrm rot="5400000">
            <a:off x="9527860" y="3614741"/>
            <a:ext cx="1066796" cy="2590799"/>
          </a:xfrm>
          <a:prstGeom prst="downArrow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472" name="Textfeld 471">
            <a:extLst>
              <a:ext uri="{FF2B5EF4-FFF2-40B4-BE49-F238E27FC236}">
                <a16:creationId xmlns:a16="http://schemas.microsoft.com/office/drawing/2014/main" id="{7E35FF84-25B3-28B4-30C5-023243FFCCC3}"/>
              </a:ext>
            </a:extLst>
          </p:cNvPr>
          <p:cNvSpPr txBox="1"/>
          <p:nvPr/>
        </p:nvSpPr>
        <p:spPr>
          <a:xfrm>
            <a:off x="9315450" y="4756251"/>
            <a:ext cx="19859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000" b="1" cap="small" dirty="0">
                <a:solidFill>
                  <a:schemeClr val="bg1"/>
                </a:solidFill>
              </a:rPr>
              <a:t>Rückgang</a:t>
            </a:r>
          </a:p>
        </p:txBody>
      </p:sp>
      <p:sp>
        <p:nvSpPr>
          <p:cNvPr id="475" name="Textfeld 474">
            <a:extLst>
              <a:ext uri="{FF2B5EF4-FFF2-40B4-BE49-F238E27FC236}">
                <a16:creationId xmlns:a16="http://schemas.microsoft.com/office/drawing/2014/main" id="{295D98B2-26BD-7D6C-C072-30ACCA39C2F3}"/>
              </a:ext>
            </a:extLst>
          </p:cNvPr>
          <p:cNvSpPr txBox="1"/>
          <p:nvPr/>
        </p:nvSpPr>
        <p:spPr>
          <a:xfrm>
            <a:off x="8514557" y="4376742"/>
            <a:ext cx="3036887" cy="1107996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de-DE" sz="7200" dirty="0" err="1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D1CFB07A-7D02-217A-54B1-A7A1F4154DA7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714500" y="2185988"/>
            <a:ext cx="498475" cy="4984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696A4B8D-F990-287F-E8C7-59DB341E2C9A}"/>
              </a:ext>
            </a:extLst>
          </p:cNvPr>
          <p:cNvSpPr txBox="1"/>
          <p:nvPr/>
        </p:nvSpPr>
        <p:spPr>
          <a:xfrm>
            <a:off x="2168525" y="2200603"/>
            <a:ext cx="276203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/>
              <a:t>ca. abgebildeter Anteil Gruppenumsatz TRUMPF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C8A085A-A8D9-480F-C5B1-0308A4EC8368}"/>
              </a:ext>
            </a:extLst>
          </p:cNvPr>
          <p:cNvSpPr txBox="1"/>
          <p:nvPr/>
        </p:nvSpPr>
        <p:spPr>
          <a:xfrm>
            <a:off x="1128713" y="6565901"/>
            <a:ext cx="418699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*Näherung ohne Service- und Softwareumsätze</a:t>
            </a:r>
          </a:p>
        </p:txBody>
      </p:sp>
    </p:spTree>
    <p:extLst>
      <p:ext uri="{BB962C8B-B14F-4D97-AF65-F5344CB8AC3E}">
        <p14:creationId xmlns:p14="http://schemas.microsoft.com/office/powerpoint/2010/main" val="2717307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197A92F-0241-9E41-AB5F-2EED91E3A0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993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473" imgH="473" progId="TCLayout.ActiveDocument.1">
                  <p:embed/>
                </p:oleObj>
              </mc:Choice>
              <mc:Fallback>
                <p:oleObj name="think-cell Folie" r:id="rId25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197A92F-0241-9E41-AB5F-2EED91E3A0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F480F77-3323-7F9A-B16C-71D4B0E51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rktposition TRUMPF </a:t>
            </a:r>
            <a:r>
              <a:rPr lang="de-DE" dirty="0" err="1"/>
              <a:t>Machine</a:t>
            </a:r>
            <a:r>
              <a:rPr lang="de-DE" dirty="0"/>
              <a:t> Tools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40C2A58-B269-44B6-3209-073FF82668A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TRUMPF MT v.a. auch mit starker relativer Umsatz-Entwicklung am Markt</a:t>
            </a:r>
          </a:p>
        </p:txBody>
      </p:sp>
      <p:graphicFrame>
        <p:nvGraphicFramePr>
          <p:cNvPr id="292" name="Chart 3">
            <a:extLst>
              <a:ext uri="{FF2B5EF4-FFF2-40B4-BE49-F238E27FC236}">
                <a16:creationId xmlns:a16="http://schemas.microsoft.com/office/drawing/2014/main" id="{C7C0E39E-B144-0C33-DA2A-30C2079A348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8436056"/>
              </p:ext>
            </p:extLst>
          </p:nvPr>
        </p:nvGraphicFramePr>
        <p:xfrm>
          <a:off x="1076325" y="2092325"/>
          <a:ext cx="8475663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254" name="Gerader Verbinder 253">
            <a:extLst>
              <a:ext uri="{FF2B5EF4-FFF2-40B4-BE49-F238E27FC236}">
                <a16:creationId xmlns:a16="http://schemas.microsoft.com/office/drawing/2014/main" id="{E12A98DD-0F90-7761-96B0-20BAF3E83BD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5314950" y="1738313"/>
            <a:ext cx="4154488" cy="9842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DCF3E9C6-D82A-E92D-4086-18507DC0E86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 flipV="1">
            <a:off x="9507538" y="5472113"/>
            <a:ext cx="139700" cy="279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Gerader Verbinder 227">
            <a:extLst>
              <a:ext uri="{FF2B5EF4-FFF2-40B4-BE49-F238E27FC236}">
                <a16:creationId xmlns:a16="http://schemas.microsoft.com/office/drawing/2014/main" id="{E1E22832-A744-81FB-2452-6BE90C2E61D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9507538" y="5224463"/>
            <a:ext cx="139700" cy="163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Gerader Verbinder 226">
            <a:extLst>
              <a:ext uri="{FF2B5EF4-FFF2-40B4-BE49-F238E27FC236}">
                <a16:creationId xmlns:a16="http://schemas.microsoft.com/office/drawing/2014/main" id="{EF8AB300-2ACE-F7E5-97F7-FFC66175D51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9507538" y="4697413"/>
            <a:ext cx="139700" cy="544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Gerader Verbinder 225">
            <a:extLst>
              <a:ext uri="{FF2B5EF4-FFF2-40B4-BE49-F238E27FC236}">
                <a16:creationId xmlns:a16="http://schemas.microsoft.com/office/drawing/2014/main" id="{DAF4DC0A-1F91-3D3F-49E7-560D8CF6778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9507538" y="4960938"/>
            <a:ext cx="139700" cy="298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D480383D-0FAC-7DCC-D098-718C3F6B339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81575" y="5942013"/>
            <a:ext cx="668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defRPr/>
            </a:pPr>
            <a:fld id="{A84AC266-58C6-4CDD-9E8E-4605C8A5D1C8}" type="datetime'''''''''''''KJ'''' ''''''''2''''''''''''''''''''0''''2''''0'">
              <a:rPr lang="de-DE" altLang="en-US" sz="1400" b="1" smtClean="0">
                <a:solidFill>
                  <a:srgbClr val="333333"/>
                </a:solidFill>
                <a:cs typeface="+mn-cs"/>
              </a:rPr>
              <a:pPr lvl="1" algn="ctr"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defRPr/>
              </a:pPr>
              <a:t>KJ 2020</a:t>
            </a:fld>
            <a:endParaRPr lang="de-DE" sz="1400" b="1" strike="noStrike" normalizeH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cs typeface="+mn-cs"/>
              <a:sym typeface="Symbol" panose="05050102010706020507" pitchFamily="18" charset="2"/>
            </a:endParaRP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4863" y="1722438"/>
            <a:ext cx="7080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de-DE" altLang="en-US" b="1" dirty="0">
                <a:effectLst/>
                <a:sym typeface="Symbol" panose="05050102010706020507" pitchFamily="18" charset="2"/>
              </a:rPr>
              <a:t>Umsatz</a:t>
            </a:r>
            <a:endParaRPr lang="de-DE" b="1" dirty="0">
              <a:sym typeface="Symbol" panose="05050102010706020507" pitchFamily="18" charset="2"/>
            </a:endParaRPr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8B4A110E-E3CC-B801-3864-B78FD5D1E3D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903538" y="5942013"/>
            <a:ext cx="668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defRPr/>
            </a:pPr>
            <a:fld id="{0704B336-24B6-4EEA-B33F-28B2C5739FC9}" type="datetime'''K''''''''''''''J'''''''' 20''''''''''''1''''''''9'''''''''">
              <a:rPr lang="de-DE" altLang="en-US" sz="1400" b="1" smtClean="0">
                <a:solidFill>
                  <a:srgbClr val="333333"/>
                </a:solidFill>
                <a:cs typeface="+mn-cs"/>
              </a:rPr>
              <a:pPr lvl="1" algn="ctr"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defRPr/>
              </a:pPr>
              <a:t>KJ 2019</a:t>
            </a:fld>
            <a:endParaRPr lang="de-DE" sz="1400" b="1" strike="noStrike" normalizeH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cs typeface="+mn-cs"/>
              <a:sym typeface="Symbol" panose="05050102010706020507" pitchFamily="18" charset="2"/>
            </a:endParaRPr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0E3E540B-AAB0-C792-C6C7-87794AB482C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25500" y="5942013"/>
            <a:ext cx="668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defRPr/>
            </a:pPr>
            <a:fld id="{9495C6F7-F3A8-4DFF-94CD-6201E2A4483C}" type="datetime'''''''''''KJ'' ''''''''2''''''''''''''''''''''0''1''8'''''''">
              <a:rPr lang="de-DE" altLang="en-US" sz="1400" b="1" smtClean="0">
                <a:solidFill>
                  <a:srgbClr val="333333"/>
                </a:solidFill>
                <a:cs typeface="+mn-cs"/>
              </a:rPr>
              <a:pPr lvl="1" algn="ctr"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defRPr/>
              </a:pPr>
              <a:t>KJ 2018</a:t>
            </a:fld>
            <a:endParaRPr lang="de-DE" sz="1400" b="1" strike="noStrike" normalizeH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cs typeface="+mn-cs"/>
              <a:sym typeface="Symbol" panose="05050102010706020507" pitchFamily="18" charset="2"/>
            </a:endParaRPr>
          </a:p>
        </p:txBody>
      </p:sp>
      <p:sp>
        <p:nvSpPr>
          <p:cNvPr id="57" name="Textplatzhalter 2">
            <a:extLst>
              <a:ext uri="{FF2B5EF4-FFF2-40B4-BE49-F238E27FC236}">
                <a16:creationId xmlns:a16="http://schemas.microsoft.com/office/drawing/2014/main" id="{18AE6837-065A-CF31-09BA-E9509D6847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058025" y="5942013"/>
            <a:ext cx="668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defRPr/>
            </a:pPr>
            <a:fld id="{72EC1741-A0C7-4796-955E-D0416F4EBC50}" type="datetime'''''KJ'''''''''''''''''' ''''''''2''''''''''0''''2''''''1'">
              <a:rPr lang="de-DE" altLang="en-US" sz="1400" b="1" smtClean="0">
                <a:solidFill>
                  <a:srgbClr val="333333"/>
                </a:solidFill>
                <a:cs typeface="+mn-cs"/>
              </a:rPr>
              <a:pPr lvl="1" algn="ctr"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defRPr/>
              </a:pPr>
              <a:t>KJ 2021</a:t>
            </a:fld>
            <a:endParaRPr lang="de-DE" sz="1400" b="1" strike="noStrike" normalizeH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cs typeface="+mn-cs"/>
              <a:sym typeface="Symbol" panose="05050102010706020507" pitchFamily="18" charset="2"/>
            </a:endParaRP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C6B1A32F-FF00-7248-E696-B16248D75B1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36063" y="5942013"/>
            <a:ext cx="668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defRPr/>
            </a:pPr>
            <a:fld id="{BF75CFBC-79A4-4404-BEE2-2E6DC6F6A479}" type="datetime'''KJ'' ''''''''''''2''''''''0''''''''''''22'''''''''">
              <a:rPr lang="de-DE" altLang="en-US" sz="1400" b="1" smtClean="0">
                <a:solidFill>
                  <a:srgbClr val="333333"/>
                </a:solidFill>
                <a:cs typeface="+mn-cs"/>
              </a:rPr>
              <a:pPr lvl="1" algn="ctr"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defRPr/>
              </a:pPr>
              <a:t>KJ 2022</a:t>
            </a:fld>
            <a:endParaRPr lang="de-DE" sz="1400" b="1" strike="noStrike" normalizeH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cs typeface="+mn-cs"/>
              <a:sym typeface="Symbol" panose="05050102010706020507" pitchFamily="18" charset="2"/>
            </a:endParaRPr>
          </a:p>
        </p:txBody>
      </p:sp>
      <p:sp>
        <p:nvSpPr>
          <p:cNvPr id="216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672638" y="2174875"/>
            <a:ext cx="720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1DD80E1A-2BE3-4D1B-A884-9F552D5F3611}" type="datetime'''''T''''''''''''''''''R''''UMPF'''''''''''''''">
              <a:rPr lang="de-DE" altLang="en-US" sz="1400" b="1" smtClean="0">
                <a:solidFill>
                  <a:schemeClr val="tx2"/>
                </a:solidFill>
                <a:effectLst/>
                <a:sym typeface="Symbol" panose="05050102010706020507" pitchFamily="18" charset="2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TRUMPF</a:t>
            </a:fld>
            <a:endParaRPr lang="de-DE" sz="1400" b="1" dirty="0">
              <a:solidFill>
                <a:schemeClr val="tx2"/>
              </a:solidFill>
              <a:sym typeface="Symbol" panose="05050102010706020507" pitchFamily="18" charset="2"/>
            </a:endParaRPr>
          </a:p>
        </p:txBody>
      </p:sp>
      <p:sp>
        <p:nvSpPr>
          <p:cNvPr id="221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72638" y="4591050"/>
            <a:ext cx="963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4D6C8E7D-BE5C-4C7F-9C01-E26182A4FB54}" type="datetime'''''''''W''''''''et''t''b''''''''''ew''''erb'''''''''''''">
              <a:rPr lang="de-DE" altLang="en-US" sz="1400" smtClean="0">
                <a:solidFill>
                  <a:srgbClr val="9DB1CF"/>
                </a:solidFill>
                <a:effectLst/>
                <a:sym typeface="Symbol" panose="05050102010706020507" pitchFamily="18" charset="2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Wettbewerb</a:t>
            </a:fld>
            <a:endParaRPr lang="de-DE" sz="1400" dirty="0">
              <a:solidFill>
                <a:srgbClr val="9DB1CF"/>
              </a:solidFill>
              <a:sym typeface="Symbol" panose="05050102010706020507" pitchFamily="18" charset="2"/>
            </a:endParaRPr>
          </a:p>
        </p:txBody>
      </p:sp>
      <p:sp>
        <p:nvSpPr>
          <p:cNvPr id="218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672638" y="3081338"/>
            <a:ext cx="2082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7D1CF825-7249-4DE6-B4DA-F72A3D290192}" type="datetime'Ma''''i''''''ns''''t''ream'' We''tt''be''w''''er''b ''1'''''''">
              <a:rPr lang="de-DE" altLang="en-US" sz="1400" smtClean="0">
                <a:solidFill>
                  <a:schemeClr val="accent1"/>
                </a:solidFill>
                <a:effectLst/>
                <a:sym typeface="Symbol" panose="05050102010706020507" pitchFamily="18" charset="2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Mainstream Wettbewerb 1</a:t>
            </a:fld>
            <a:endParaRPr lang="de-DE" sz="1400" dirty="0">
              <a:solidFill>
                <a:schemeClr val="accent1"/>
              </a:solidFill>
              <a:sym typeface="Symbol" panose="05050102010706020507" pitchFamily="18" charset="2"/>
            </a:endParaRPr>
          </a:p>
        </p:txBody>
      </p:sp>
      <p:sp>
        <p:nvSpPr>
          <p:cNvPr id="219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672638" y="4327525"/>
            <a:ext cx="2082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7A96A3AB-CCC0-4590-AD04-47DA6023241F}" type="datetime'''M''''ains''''''''trea''m We''tt''bew''e''''r''b ''2'''''">
              <a:rPr lang="de-DE" altLang="en-US" sz="1400" smtClean="0">
                <a:solidFill>
                  <a:schemeClr val="accent1"/>
                </a:solidFill>
                <a:effectLst/>
                <a:sym typeface="Symbol" panose="05050102010706020507" pitchFamily="18" charset="2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Mainstream Wettbewerb 2</a:t>
            </a:fld>
            <a:endParaRPr lang="de-DE" sz="1400" dirty="0">
              <a:solidFill>
                <a:schemeClr val="accent1"/>
              </a:solidFill>
              <a:sym typeface="Symbol" panose="05050102010706020507" pitchFamily="18" charset="2"/>
            </a:endParaRPr>
          </a:p>
        </p:txBody>
      </p:sp>
      <p:sp>
        <p:nvSpPr>
          <p:cNvPr id="220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672638" y="4854575"/>
            <a:ext cx="963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937BC087-9476-445F-BD45-455EC3464266}" type="datetime'''''''''''W''''et''tb''''''''''''e''w''''''e''r''b'''''''''">
              <a:rPr lang="de-DE" altLang="en-US" sz="1400" smtClean="0">
                <a:solidFill>
                  <a:srgbClr val="9DB1CF"/>
                </a:solidFill>
                <a:effectLst/>
                <a:sym typeface="Symbol" panose="05050102010706020507" pitchFamily="18" charset="2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Wettbewerb</a:t>
            </a:fld>
            <a:endParaRPr lang="de-DE" sz="1400" dirty="0">
              <a:solidFill>
                <a:srgbClr val="9DB1CF"/>
              </a:solidFill>
              <a:sym typeface="Symbol" panose="05050102010706020507" pitchFamily="18" charset="2"/>
            </a:endParaRPr>
          </a:p>
        </p:txBody>
      </p:sp>
      <p:sp>
        <p:nvSpPr>
          <p:cNvPr id="222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672638" y="5118100"/>
            <a:ext cx="1400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BA28E765-2E37-47E6-9CD5-50CDEEA503AA}" type="datetime'''''W''e''t''''''''tbewe''''''rb'' ''C''''N'''' ''''''''''1'">
              <a:rPr lang="de-DE" altLang="en-US" sz="1400" smtClean="0">
                <a:solidFill>
                  <a:srgbClr val="C30C3E"/>
                </a:solidFill>
                <a:effectLst/>
                <a:sym typeface="Symbol" panose="05050102010706020507" pitchFamily="18" charset="2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Wettbewerb CN 1</a:t>
            </a:fld>
            <a:endParaRPr lang="de-DE" sz="1400" dirty="0">
              <a:solidFill>
                <a:srgbClr val="C30C3E"/>
              </a:solidFill>
              <a:sym typeface="Symbol" panose="05050102010706020507" pitchFamily="18" charset="2"/>
            </a:endParaRPr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672638" y="5381625"/>
            <a:ext cx="1400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5314D99D-737E-4D3F-8966-97A40CC6C6F3}" type="datetime'''W''e''tt''''be''w''erb'' ''''''CN'''''''' ''''2'''''''">
              <a:rPr lang="de-DE" altLang="en-US" sz="1400" smtClean="0">
                <a:solidFill>
                  <a:srgbClr val="C30C3E"/>
                </a:solidFill>
                <a:effectLst/>
                <a:sym typeface="Symbol" panose="05050102010706020507" pitchFamily="18" charset="2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Wettbewerb CN 2</a:t>
            </a:fld>
            <a:endParaRPr lang="de-DE" sz="1400" dirty="0">
              <a:solidFill>
                <a:srgbClr val="C30C3E"/>
              </a:solidFill>
              <a:sym typeface="Symbol" panose="05050102010706020507" pitchFamily="18" charset="2"/>
            </a:endParaRPr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672638" y="5645150"/>
            <a:ext cx="1400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861A5B34-66F7-4069-ACFE-8B095B5FC265}" type="datetime'W''''''''et''''''''''''tb''ewerb ''''''C''N'' ''''''''''''''3'">
              <a:rPr lang="de-DE" altLang="en-US" sz="1400" smtClean="0">
                <a:solidFill>
                  <a:srgbClr val="C30C3E"/>
                </a:solidFill>
                <a:effectLst/>
                <a:sym typeface="Symbol" panose="05050102010706020507" pitchFamily="18" charset="2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Wettbewerb CN 3</a:t>
            </a:fld>
            <a:endParaRPr lang="de-DE" sz="1400" dirty="0">
              <a:solidFill>
                <a:srgbClr val="C30C3E"/>
              </a:solidFill>
              <a:sym typeface="Symbol" panose="05050102010706020507" pitchFamily="18" charset="2"/>
            </a:endParaRPr>
          </a:p>
        </p:txBody>
      </p:sp>
      <p:sp>
        <p:nvSpPr>
          <p:cNvPr id="252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343649" y="2101850"/>
            <a:ext cx="2097088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200" b="1" dirty="0">
                <a:solidFill>
                  <a:schemeClr val="tx2"/>
                </a:solidFill>
                <a:effectLst/>
                <a:cs typeface="+mn-cs"/>
              </a:rPr>
              <a:t>TRUMPF CAGR</a:t>
            </a:r>
            <a:fld id="{44812836-BB17-4487-B0BE-67A4AF22875B}" type="datetime'+''''1''''''''''''''''''7''%'''''''''''''''''''''''''''">
              <a:rPr lang="de-DE" altLang="en-US" sz="1200" b="1" smtClean="0">
                <a:solidFill>
                  <a:schemeClr val="tx2"/>
                </a:solidFill>
                <a:effectLst/>
                <a:cs typeface="+mn-cs"/>
              </a:rPr>
              <a:pPr/>
              <a:t>+17%</a:t>
            </a:fld>
            <a:endParaRPr lang="de-DE" sz="1200" b="1" dirty="0">
              <a:solidFill>
                <a:schemeClr val="tx2"/>
              </a:solidFill>
              <a:cs typeface="+mn-cs"/>
              <a:sym typeface="Symbol" panose="05050102010706020507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003443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96A022C-C4A9-0BF3-1D4F-A16EED220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448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96A022C-C4A9-0BF3-1D4F-A16EED220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1F7E2E-8FAF-A050-1197-A441000A4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chlanke Organisation im Engpassmanagement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FC076C62-A4ED-B46C-6E8C-FF0497361FCB}"/>
              </a:ext>
            </a:extLst>
          </p:cNvPr>
          <p:cNvSpPr txBox="1"/>
          <p:nvPr/>
        </p:nvSpPr>
        <p:spPr>
          <a:xfrm>
            <a:off x="1154463" y="5703405"/>
            <a:ext cx="4604253" cy="738664"/>
          </a:xfrm>
          <a:prstGeom prst="rect">
            <a:avLst/>
          </a:prstGeom>
          <a:noFill/>
        </p:spPr>
        <p:txBody>
          <a:bodyPr wrap="square" lIns="0" tIns="0" rIns="0" bIns="0" numCol="1" rtlCol="0" anchor="ctr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-"/>
            </a:pPr>
            <a:r>
              <a:rPr lang="de-DE" sz="1600" dirty="0">
                <a:solidFill>
                  <a:schemeClr val="tx2"/>
                </a:solidFill>
              </a:rPr>
              <a:t>tägliche </a:t>
            </a:r>
            <a:r>
              <a:rPr lang="de-DE" sz="1600" dirty="0" err="1">
                <a:solidFill>
                  <a:schemeClr val="tx2"/>
                </a:solidFill>
              </a:rPr>
              <a:t>Stehungskaskade</a:t>
            </a:r>
            <a:r>
              <a:rPr lang="de-DE" sz="1600" dirty="0">
                <a:solidFill>
                  <a:schemeClr val="tx2"/>
                </a:solidFill>
              </a:rPr>
              <a:t> 07.30 Uhr</a:t>
            </a:r>
          </a:p>
          <a:p>
            <a:pPr marL="285750" indent="-285750" algn="l">
              <a:buFont typeface="Symbol" panose="05050102010706020507" pitchFamily="18" charset="2"/>
              <a:buChar char="-"/>
            </a:pPr>
            <a:r>
              <a:rPr lang="de-DE" sz="1600" dirty="0">
                <a:solidFill>
                  <a:schemeClr val="tx2"/>
                </a:solidFill>
              </a:rPr>
              <a:t>tägliche Transparenz, Ziele, ggf. Allokation</a:t>
            </a:r>
          </a:p>
          <a:p>
            <a:pPr marL="285750" indent="-285750" algn="l">
              <a:buFont typeface="Symbol" panose="05050102010706020507" pitchFamily="18" charset="2"/>
              <a:buChar char="-"/>
            </a:pPr>
            <a:r>
              <a:rPr lang="de-DE" sz="1600" dirty="0">
                <a:solidFill>
                  <a:schemeClr val="tx2"/>
                </a:solidFill>
              </a:rPr>
              <a:t>Einbindung aller (!) Kapazitäten</a:t>
            </a:r>
          </a:p>
        </p:txBody>
      </p: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4803F723-B32B-08E0-20D1-0C22844291ED}"/>
              </a:ext>
            </a:extLst>
          </p:cNvPr>
          <p:cNvGrpSpPr>
            <a:grpSpLocks noChangeAspect="1"/>
          </p:cNvGrpSpPr>
          <p:nvPr/>
        </p:nvGrpSpPr>
        <p:grpSpPr>
          <a:xfrm>
            <a:off x="2054950" y="1020012"/>
            <a:ext cx="8298000" cy="4216735"/>
            <a:chOff x="1442400" y="1333952"/>
            <a:chExt cx="9307200" cy="4729575"/>
          </a:xfrm>
        </p:grpSpPr>
        <p:grpSp>
          <p:nvGrpSpPr>
            <p:cNvPr id="93" name="Gruppieren 92">
              <a:extLst>
                <a:ext uri="{FF2B5EF4-FFF2-40B4-BE49-F238E27FC236}">
                  <a16:creationId xmlns:a16="http://schemas.microsoft.com/office/drawing/2014/main" id="{7AC3CC74-81EA-FE2F-7F30-7CB795427634}"/>
                </a:ext>
              </a:extLst>
            </p:cNvPr>
            <p:cNvGrpSpPr/>
            <p:nvPr/>
          </p:nvGrpSpPr>
          <p:grpSpPr>
            <a:xfrm>
              <a:off x="1442400" y="1333952"/>
              <a:ext cx="9307200" cy="4729575"/>
              <a:chOff x="1109434" y="1566536"/>
              <a:chExt cx="9307200" cy="4729575"/>
            </a:xfrm>
          </p:grpSpPr>
          <p:sp>
            <p:nvSpPr>
              <p:cNvPr id="4" name="Ellipse 3">
                <a:extLst>
                  <a:ext uri="{FF2B5EF4-FFF2-40B4-BE49-F238E27FC236}">
                    <a16:creationId xmlns:a16="http://schemas.microsoft.com/office/drawing/2014/main" id="{9252BFBA-9E2D-839E-B0C3-E4E9D3B4332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645090" y="2097026"/>
                <a:ext cx="8194799" cy="3449788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sz="1600" dirty="0" err="1"/>
              </a:p>
            </p:txBody>
          </p:sp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E7D4C800-0047-8774-727D-08B65671A81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600476" y="4709073"/>
                <a:ext cx="1239527" cy="968380"/>
                <a:chOff x="9585766" y="1872791"/>
                <a:chExt cx="1152000" cy="900000"/>
              </a:xfrm>
            </p:grpSpPr>
            <p:sp>
              <p:nvSpPr>
                <p:cNvPr id="10" name="Textfeld 9">
                  <a:extLst>
                    <a:ext uri="{FF2B5EF4-FFF2-40B4-BE49-F238E27FC236}">
                      <a16:creationId xmlns:a16="http://schemas.microsoft.com/office/drawing/2014/main" id="{8DE7A957-1434-0811-D2A2-CF368345415E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MT</a:t>
                  </a:r>
                </a:p>
              </p:txBody>
            </p:sp>
            <p:pic>
              <p:nvPicPr>
                <p:cNvPr id="6" name="Grafik 5" descr="Benutzer mit einfarbiger Füllung">
                  <a:extLst>
                    <a:ext uri="{FF2B5EF4-FFF2-40B4-BE49-F238E27FC236}">
                      <a16:creationId xmlns:a16="http://schemas.microsoft.com/office/drawing/2014/main" id="{0E354A4A-1AAC-4A0D-9A83-BE9999EF86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18" name="Gruppieren 17">
                <a:extLst>
                  <a:ext uri="{FF2B5EF4-FFF2-40B4-BE49-F238E27FC236}">
                    <a16:creationId xmlns:a16="http://schemas.microsoft.com/office/drawing/2014/main" id="{19D7A9B3-A773-29CF-4473-C761695F28A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139172" y="1566536"/>
                <a:ext cx="1239527" cy="968380"/>
                <a:chOff x="9585766" y="1872791"/>
                <a:chExt cx="1152000" cy="900000"/>
              </a:xfrm>
            </p:grpSpPr>
            <p:sp>
              <p:nvSpPr>
                <p:cNvPr id="19" name="Textfeld 18">
                  <a:extLst>
                    <a:ext uri="{FF2B5EF4-FFF2-40B4-BE49-F238E27FC236}">
                      <a16:creationId xmlns:a16="http://schemas.microsoft.com/office/drawing/2014/main" id="{ECFB9E12-5B5D-3E12-0621-5EE7431F60F2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EUV</a:t>
                  </a:r>
                </a:p>
              </p:txBody>
            </p:sp>
            <p:pic>
              <p:nvPicPr>
                <p:cNvPr id="20" name="Grafik 19" descr="Benutzer mit einfarbiger Füllung">
                  <a:extLst>
                    <a:ext uri="{FF2B5EF4-FFF2-40B4-BE49-F238E27FC236}">
                      <a16:creationId xmlns:a16="http://schemas.microsoft.com/office/drawing/2014/main" id="{B27E4769-4096-763D-ADBA-010498D72C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15" name="Gruppieren 14">
                <a:extLst>
                  <a:ext uri="{FF2B5EF4-FFF2-40B4-BE49-F238E27FC236}">
                    <a16:creationId xmlns:a16="http://schemas.microsoft.com/office/drawing/2014/main" id="{2DA81BB7-BDF5-6657-875C-29BE08CA6FB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061778" y="4357927"/>
                <a:ext cx="1239527" cy="968380"/>
                <a:chOff x="9585766" y="1872791"/>
                <a:chExt cx="1152000" cy="900000"/>
              </a:xfrm>
            </p:grpSpPr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8C3D28D6-AAD9-DEA1-7698-6F0043BAEAC8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MT</a:t>
                  </a:r>
                </a:p>
              </p:txBody>
            </p:sp>
            <p:pic>
              <p:nvPicPr>
                <p:cNvPr id="17" name="Grafik 16" descr="Benutzer mit einfarbiger Füllung">
                  <a:extLst>
                    <a:ext uri="{FF2B5EF4-FFF2-40B4-BE49-F238E27FC236}">
                      <a16:creationId xmlns:a16="http://schemas.microsoft.com/office/drawing/2014/main" id="{7AA2C6AC-8169-80BE-46BD-A727F144224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uppieren 11">
                <a:extLst>
                  <a:ext uri="{FF2B5EF4-FFF2-40B4-BE49-F238E27FC236}">
                    <a16:creationId xmlns:a16="http://schemas.microsoft.com/office/drawing/2014/main" id="{BD4F87B1-60A9-E56A-94AA-505795DD519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061778" y="2318003"/>
                <a:ext cx="1239527" cy="968380"/>
                <a:chOff x="9585766" y="1872791"/>
                <a:chExt cx="1152000" cy="900000"/>
              </a:xfrm>
            </p:grpSpPr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413AB1E3-7944-5291-C2D0-867C78AC12EE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MT</a:t>
                  </a:r>
                </a:p>
              </p:txBody>
            </p:sp>
            <p:pic>
              <p:nvPicPr>
                <p:cNvPr id="14" name="Grafik 13" descr="Benutzer mit einfarbiger Füllung">
                  <a:extLst>
                    <a:ext uri="{FF2B5EF4-FFF2-40B4-BE49-F238E27FC236}">
                      <a16:creationId xmlns:a16="http://schemas.microsoft.com/office/drawing/2014/main" id="{6DD4812C-2E9D-2D7D-BD5E-0CC32265E39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A17C52FB-3503-6EC0-FD60-E5AA3CB5793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677869" y="1942270"/>
                <a:ext cx="1239527" cy="968380"/>
                <a:chOff x="9585766" y="1872791"/>
                <a:chExt cx="1152000" cy="900000"/>
              </a:xfrm>
            </p:grpSpPr>
            <p:sp>
              <p:nvSpPr>
                <p:cNvPr id="25" name="Textfeld 24">
                  <a:extLst>
                    <a:ext uri="{FF2B5EF4-FFF2-40B4-BE49-F238E27FC236}">
                      <a16:creationId xmlns:a16="http://schemas.microsoft.com/office/drawing/2014/main" id="{8D094A34-766E-C095-C87A-EE0053918145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LT</a:t>
                  </a:r>
                </a:p>
              </p:txBody>
            </p:sp>
            <p:pic>
              <p:nvPicPr>
                <p:cNvPr id="26" name="Grafik 25" descr="Benutzer mit einfarbiger Füllung">
                  <a:extLst>
                    <a:ext uri="{FF2B5EF4-FFF2-40B4-BE49-F238E27FC236}">
                      <a16:creationId xmlns:a16="http://schemas.microsoft.com/office/drawing/2014/main" id="{6381F17B-924D-66DA-8861-1209C779F9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uppieren 29">
                <a:extLst>
                  <a:ext uri="{FF2B5EF4-FFF2-40B4-BE49-F238E27FC236}">
                    <a16:creationId xmlns:a16="http://schemas.microsoft.com/office/drawing/2014/main" id="{5535BEB6-9910-9BD1-EB69-2A486809191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216567" y="2318003"/>
                <a:ext cx="1239527" cy="968380"/>
                <a:chOff x="9585766" y="1872791"/>
                <a:chExt cx="1152000" cy="900000"/>
              </a:xfrm>
            </p:grpSpPr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809C4AD1-E827-8B51-605B-46F30865ABF4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LT</a:t>
                  </a:r>
                </a:p>
              </p:txBody>
            </p:sp>
            <p:pic>
              <p:nvPicPr>
                <p:cNvPr id="32" name="Grafik 31" descr="Benutzer mit einfarbiger Füllung">
                  <a:extLst>
                    <a:ext uri="{FF2B5EF4-FFF2-40B4-BE49-F238E27FC236}">
                      <a16:creationId xmlns:a16="http://schemas.microsoft.com/office/drawing/2014/main" id="{30A8F32B-11CC-18F6-CEA7-5BFA5F6662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33" name="Gruppieren 32">
                <a:extLst>
                  <a:ext uri="{FF2B5EF4-FFF2-40B4-BE49-F238E27FC236}">
                    <a16:creationId xmlns:a16="http://schemas.microsoft.com/office/drawing/2014/main" id="{3108D81C-652B-08F3-DA01-DB72E50B18C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216567" y="4357928"/>
                <a:ext cx="1239527" cy="968380"/>
                <a:chOff x="9585766" y="1872791"/>
                <a:chExt cx="1152000" cy="900000"/>
              </a:xfrm>
            </p:grpSpPr>
            <p:sp>
              <p:nvSpPr>
                <p:cNvPr id="34" name="Textfeld 33">
                  <a:extLst>
                    <a:ext uri="{FF2B5EF4-FFF2-40B4-BE49-F238E27FC236}">
                      <a16:creationId xmlns:a16="http://schemas.microsoft.com/office/drawing/2014/main" id="{575A97B8-09A7-5DE6-BD21-7684E24B8456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E</a:t>
                  </a:r>
                </a:p>
              </p:txBody>
            </p:sp>
            <p:pic>
              <p:nvPicPr>
                <p:cNvPr id="35" name="Grafik 34" descr="Benutzer mit einfarbiger Füllung">
                  <a:extLst>
                    <a:ext uri="{FF2B5EF4-FFF2-40B4-BE49-F238E27FC236}">
                      <a16:creationId xmlns:a16="http://schemas.microsoft.com/office/drawing/2014/main" id="{9C554CED-3BEA-CE58-6FFB-D70DF7461D4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27E6C9D0-9833-2F87-46BD-D4C5EC8180B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677870" y="4709074"/>
                <a:ext cx="1239527" cy="968380"/>
                <a:chOff x="9585766" y="1872791"/>
                <a:chExt cx="1152000" cy="900000"/>
              </a:xfrm>
            </p:grpSpPr>
            <p:sp>
              <p:nvSpPr>
                <p:cNvPr id="37" name="Textfeld 36">
                  <a:extLst>
                    <a:ext uri="{FF2B5EF4-FFF2-40B4-BE49-F238E27FC236}">
                      <a16:creationId xmlns:a16="http://schemas.microsoft.com/office/drawing/2014/main" id="{6DA7E48D-1CCA-4A05-C639-7EE8CB86C538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E</a:t>
                  </a:r>
                </a:p>
              </p:txBody>
            </p:sp>
            <p:pic>
              <p:nvPicPr>
                <p:cNvPr id="38" name="Grafik 37" descr="Benutzer mit einfarbiger Füllung">
                  <a:extLst>
                    <a:ext uri="{FF2B5EF4-FFF2-40B4-BE49-F238E27FC236}">
                      <a16:creationId xmlns:a16="http://schemas.microsoft.com/office/drawing/2014/main" id="{44906758-90C7-660B-2AEC-24422ECF8B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89" name="Gruppieren 88">
                <a:extLst>
                  <a:ext uri="{FF2B5EF4-FFF2-40B4-BE49-F238E27FC236}">
                    <a16:creationId xmlns:a16="http://schemas.microsoft.com/office/drawing/2014/main" id="{3396D832-55A6-36E8-DAFF-CED831CE77D2}"/>
                  </a:ext>
                </a:extLst>
              </p:cNvPr>
              <p:cNvGrpSpPr/>
              <p:nvPr/>
            </p:nvGrpSpPr>
            <p:grpSpPr>
              <a:xfrm>
                <a:off x="4916675" y="5060220"/>
                <a:ext cx="1684518" cy="1235891"/>
                <a:chOff x="5016381" y="5048622"/>
                <a:chExt cx="1684518" cy="1235891"/>
              </a:xfrm>
            </p:grpSpPr>
            <p:sp>
              <p:nvSpPr>
                <p:cNvPr id="40" name="Textfeld 39">
                  <a:extLst>
                    <a:ext uri="{FF2B5EF4-FFF2-40B4-BE49-F238E27FC236}">
                      <a16:creationId xmlns:a16="http://schemas.microsoft.com/office/drawing/2014/main" id="{1C9239B6-5D70-D62B-248B-385617FDE51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5016381" y="5048622"/>
                  <a:ext cx="1684518" cy="123589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Zentralbereich Einkauf</a:t>
                  </a:r>
                </a:p>
              </p:txBody>
            </p:sp>
            <p:pic>
              <p:nvPicPr>
                <p:cNvPr id="41" name="Grafik 40" descr="Benutzer mit einfarbiger Füllung">
                  <a:extLst>
                    <a:ext uri="{FF2B5EF4-FFF2-40B4-BE49-F238E27FC236}">
                      <a16:creationId xmlns:a16="http://schemas.microsoft.com/office/drawing/2014/main" id="{225343EF-4417-A19A-A4BD-C15C06C670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49918" y="5188091"/>
                  <a:ext cx="619763" cy="619763"/>
                </a:xfrm>
                <a:prstGeom prst="rect">
                  <a:avLst/>
                </a:prstGeom>
              </p:spPr>
            </p:pic>
          </p:grpSp>
          <p:grpSp>
            <p:nvGrpSpPr>
              <p:cNvPr id="82" name="Gruppieren 81">
                <a:extLst>
                  <a:ext uri="{FF2B5EF4-FFF2-40B4-BE49-F238E27FC236}">
                    <a16:creationId xmlns:a16="http://schemas.microsoft.com/office/drawing/2014/main" id="{6562E1A0-AE75-DBF7-B032-1DE2DC68493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77107" y="3337966"/>
                <a:ext cx="1239527" cy="968380"/>
                <a:chOff x="10472587" y="4386638"/>
                <a:chExt cx="1129025" cy="882050"/>
              </a:xfrm>
            </p:grpSpPr>
            <p:sp>
              <p:nvSpPr>
                <p:cNvPr id="79" name="Textfeld 78">
                  <a:extLst>
                    <a:ext uri="{FF2B5EF4-FFF2-40B4-BE49-F238E27FC236}">
                      <a16:creationId xmlns:a16="http://schemas.microsoft.com/office/drawing/2014/main" id="{79E8FB49-5CA0-A6AB-51E5-717DAB43693E}"/>
                    </a:ext>
                  </a:extLst>
                </p:cNvPr>
                <p:cNvSpPr txBox="1"/>
                <p:nvPr/>
              </p:nvSpPr>
              <p:spPr>
                <a:xfrm>
                  <a:off x="10472587" y="4386638"/>
                  <a:ext cx="1129025" cy="88205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COO LT/E</a:t>
                  </a:r>
                </a:p>
              </p:txBody>
            </p:sp>
            <p:pic>
              <p:nvPicPr>
                <p:cNvPr id="8" name="Grafik 7" descr="Büromitarbeiter mit einfarbiger Füllung">
                  <a:extLst>
                    <a:ext uri="{FF2B5EF4-FFF2-40B4-BE49-F238E27FC236}">
                      <a16:creationId xmlns:a16="http://schemas.microsoft.com/office/drawing/2014/main" id="{BABEA4E5-587F-9C3C-B092-F46B88A26C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43356" y="4465854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83" name="Gruppieren 82">
                <a:extLst>
                  <a:ext uri="{FF2B5EF4-FFF2-40B4-BE49-F238E27FC236}">
                    <a16:creationId xmlns:a16="http://schemas.microsoft.com/office/drawing/2014/main" id="{E1505EB2-9796-96AE-3FC0-33D623CBCF2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109434" y="3337965"/>
                <a:ext cx="1239527" cy="968380"/>
                <a:chOff x="10472587" y="4386638"/>
                <a:chExt cx="1129025" cy="882050"/>
              </a:xfrm>
            </p:grpSpPr>
            <p:sp>
              <p:nvSpPr>
                <p:cNvPr id="84" name="Textfeld 83">
                  <a:extLst>
                    <a:ext uri="{FF2B5EF4-FFF2-40B4-BE49-F238E27FC236}">
                      <a16:creationId xmlns:a16="http://schemas.microsoft.com/office/drawing/2014/main" id="{65A62A40-4DB1-B4B7-9C10-77C21F21538F}"/>
                    </a:ext>
                  </a:extLst>
                </p:cNvPr>
                <p:cNvSpPr txBox="1"/>
                <p:nvPr/>
              </p:nvSpPr>
              <p:spPr>
                <a:xfrm>
                  <a:off x="10472587" y="4386638"/>
                  <a:ext cx="1129025" cy="88205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COO MT</a:t>
                  </a:r>
                </a:p>
              </p:txBody>
            </p:sp>
            <p:pic>
              <p:nvPicPr>
                <p:cNvPr id="85" name="Grafik 84" descr="Büromitarbeiter mit einfarbiger Füllung">
                  <a:extLst>
                    <a:ext uri="{FF2B5EF4-FFF2-40B4-BE49-F238E27FC236}">
                      <a16:creationId xmlns:a16="http://schemas.microsoft.com/office/drawing/2014/main" id="{1FA758AA-5CD8-ACF4-E913-1D2D81DF1E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43356" y="4465854"/>
                  <a:ext cx="576000" cy="576000"/>
                </a:xfrm>
                <a:prstGeom prst="rect">
                  <a:avLst/>
                </a:prstGeom>
              </p:spPr>
            </p:pic>
          </p:grpSp>
          <p:grpSp>
            <p:nvGrpSpPr>
              <p:cNvPr id="90" name="Gruppieren 89">
                <a:extLst>
                  <a:ext uri="{FF2B5EF4-FFF2-40B4-BE49-F238E27FC236}">
                    <a16:creationId xmlns:a16="http://schemas.microsoft.com/office/drawing/2014/main" id="{9C702B20-DBB3-DF69-0B55-63BF6DB1BDE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600475" y="1942270"/>
                <a:ext cx="1239527" cy="968380"/>
                <a:chOff x="9585766" y="1872791"/>
                <a:chExt cx="1152000" cy="900000"/>
              </a:xfrm>
            </p:grpSpPr>
            <p:sp>
              <p:nvSpPr>
                <p:cNvPr id="91" name="Textfeld 90">
                  <a:extLst>
                    <a:ext uri="{FF2B5EF4-FFF2-40B4-BE49-F238E27FC236}">
                      <a16:creationId xmlns:a16="http://schemas.microsoft.com/office/drawing/2014/main" id="{FAEA7162-B3CC-4B7A-5A1B-5BAECCA2421C}"/>
                    </a:ext>
                  </a:extLst>
                </p:cNvPr>
                <p:cNvSpPr txBox="1"/>
                <p:nvPr/>
              </p:nvSpPr>
              <p:spPr>
                <a:xfrm>
                  <a:off x="9585766" y="1872791"/>
                  <a:ext cx="1152000" cy="90000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 algn="ctr"/>
                  <a:r>
                    <a:rPr lang="de-DE" sz="1600" dirty="0"/>
                    <a:t>Einkauf MT</a:t>
                  </a:r>
                </a:p>
              </p:txBody>
            </p:sp>
            <p:pic>
              <p:nvPicPr>
                <p:cNvPr id="92" name="Grafik 91" descr="Benutzer mit einfarbiger Füllung">
                  <a:extLst>
                    <a:ext uri="{FF2B5EF4-FFF2-40B4-BE49-F238E27FC236}">
                      <a16:creationId xmlns:a16="http://schemas.microsoft.com/office/drawing/2014/main" id="{495C3417-14C1-84E2-9F52-69EEEE0321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73766" y="1965341"/>
                  <a:ext cx="576000" cy="576000"/>
                </a:xfrm>
                <a:prstGeom prst="rect">
                  <a:avLst/>
                </a:prstGeom>
              </p:spPr>
            </p:pic>
          </p:grpSp>
        </p:grp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13AE1EFF-9599-3DA1-ADEF-9AE83DDD92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79331" y="3044018"/>
              <a:ext cx="5070202" cy="1465619"/>
            </a:xfrm>
            <a:prstGeom prst="line">
              <a:avLst/>
            </a:prstGeom>
            <a:ln w="3175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05746B51-825F-145D-5D8C-CC523794453E}"/>
                </a:ext>
              </a:extLst>
            </p:cNvPr>
            <p:cNvCxnSpPr>
              <a:cxnSpLocks/>
            </p:cNvCxnSpPr>
            <p:nvPr/>
          </p:nvCxnSpPr>
          <p:spPr>
            <a:xfrm>
              <a:off x="3623560" y="3023684"/>
              <a:ext cx="5080914" cy="1447483"/>
            </a:xfrm>
            <a:prstGeom prst="line">
              <a:avLst/>
            </a:prstGeom>
            <a:ln w="3175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F8B29BDE-BFB5-8D84-82EE-7F1266AE0467}"/>
                </a:ext>
              </a:extLst>
            </p:cNvPr>
            <p:cNvCxnSpPr>
              <a:cxnSpLocks/>
              <a:endCxn id="40" idx="0"/>
            </p:cNvCxnSpPr>
            <p:nvPr/>
          </p:nvCxnSpPr>
          <p:spPr>
            <a:xfrm>
              <a:off x="6091900" y="2484205"/>
              <a:ext cx="0" cy="2343431"/>
            </a:xfrm>
            <a:prstGeom prst="line">
              <a:avLst/>
            </a:prstGeom>
            <a:ln w="3175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A996BF5B-DEFF-ADFB-7490-6FD2016C7E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52111" y="2804764"/>
              <a:ext cx="2370492" cy="1932798"/>
            </a:xfrm>
            <a:prstGeom prst="line">
              <a:avLst/>
            </a:prstGeom>
            <a:ln w="3175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r Verbinder 111">
              <a:extLst>
                <a:ext uri="{FF2B5EF4-FFF2-40B4-BE49-F238E27FC236}">
                  <a16:creationId xmlns:a16="http://schemas.microsoft.com/office/drawing/2014/main" id="{B045CA91-367A-FB87-C362-88B8F24F7F0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018029" y="2832822"/>
              <a:ext cx="2268788" cy="1861645"/>
            </a:xfrm>
            <a:prstGeom prst="line">
              <a:avLst/>
            </a:prstGeom>
            <a:ln w="3175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44C98D3C-6A44-8AC2-3076-EA66C909CB5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660014" y="3716656"/>
              <a:ext cx="6800251" cy="30769"/>
            </a:xfrm>
            <a:prstGeom prst="line">
              <a:avLst/>
            </a:prstGeom>
            <a:ln w="3175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4" name="TRUMPF">
              <a:extLst>
                <a:ext uri="{FF2B5EF4-FFF2-40B4-BE49-F238E27FC236}">
                  <a16:creationId xmlns:a16="http://schemas.microsoft.com/office/drawing/2014/main" id="{DF0ABD6B-DA4A-AB45-5AF0-BAF013EB6194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3170" y="3367001"/>
              <a:ext cx="665660" cy="663477"/>
            </a:xfrm>
            <a:prstGeom prst="rect">
              <a:avLst/>
            </a:prstGeom>
          </p:spPr>
        </p:pic>
      </p:grpSp>
      <p:sp>
        <p:nvSpPr>
          <p:cNvPr id="122" name="Textfeld 121">
            <a:extLst>
              <a:ext uri="{FF2B5EF4-FFF2-40B4-BE49-F238E27FC236}">
                <a16:creationId xmlns:a16="http://schemas.microsoft.com/office/drawing/2014/main" id="{DD945125-8ABE-9F9D-1786-CE2076956147}"/>
              </a:ext>
            </a:extLst>
          </p:cNvPr>
          <p:cNvSpPr txBox="1"/>
          <p:nvPr/>
        </p:nvSpPr>
        <p:spPr>
          <a:xfrm>
            <a:off x="6010723" y="5657239"/>
            <a:ext cx="476143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ktive Nutzung Rolle Lieferantenkoordinator („Einer für Alle“)</a:t>
            </a:r>
          </a:p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utzung kreativer Wege durch globale Kollegen</a:t>
            </a:r>
          </a:p>
        </p:txBody>
      </p:sp>
    </p:spTree>
    <p:extLst>
      <p:ext uri="{BB962C8B-B14F-4D97-AF65-F5344CB8AC3E}">
        <p14:creationId xmlns:p14="http://schemas.microsoft.com/office/powerpoint/2010/main" val="14549536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6CE5F3-B333-4CF3-BCE8-3BD74B1F4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gpassmanagement: Maßnahmen TRUMPF </a:t>
            </a:r>
          </a:p>
        </p:txBody>
      </p:sp>
      <p:sp>
        <p:nvSpPr>
          <p:cNvPr id="3" name="Coffee break">
            <a:extLst>
              <a:ext uri="{FF2B5EF4-FFF2-40B4-BE49-F238E27FC236}">
                <a16:creationId xmlns:a16="http://schemas.microsoft.com/office/drawing/2014/main" id="{A913DC72-8A7A-7781-F19C-87A20CA4530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5517" y="5364030"/>
            <a:ext cx="10960446" cy="606026"/>
          </a:xfrm>
          <a:prstGeom prst="rect">
            <a:avLst/>
          </a:prstGeom>
          <a:solidFill>
            <a:srgbClr val="93C11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i="1" dirty="0">
                <a:solidFill>
                  <a:schemeClr val="bg1"/>
                </a:solidFill>
              </a:rPr>
              <a:t>TRUMPF Philosophie bildet Fundament auch im Engpassmanagement: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de-DE" b="1" i="1" dirty="0">
                <a:solidFill>
                  <a:schemeClr val="bg1"/>
                </a:solidFill>
              </a:rPr>
              <a:t>SYNCHRO Produktionssystem sowie Werte Offenheit und Mu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B5A392F-77B3-B2A4-8CB7-A4DA436F1FCC}"/>
              </a:ext>
            </a:extLst>
          </p:cNvPr>
          <p:cNvSpPr/>
          <p:nvPr/>
        </p:nvSpPr>
        <p:spPr>
          <a:xfrm>
            <a:off x="1430447" y="2643606"/>
            <a:ext cx="4184212" cy="27204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Aft>
                <a:spcPts val="300"/>
              </a:spcAft>
            </a:pPr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 Maßnahmen: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Allokation zwischen Standorten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rüfung alternativer Produkte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rozess zur Einführung alternativer Bauteile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Inhouse-Fertigung (Zerspanung, Blech, Elektronik)</a:t>
            </a:r>
            <a:endParaRPr lang="de-DE" sz="1400" dirty="0">
              <a:solidFill>
                <a:schemeClr val="tx1"/>
              </a:solidFill>
              <a:cs typeface="Segoe UI"/>
            </a:endParaRP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„Hütchen-Spiel“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Umplanung Fertigung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Luft- statt Seefracht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FEBDE1-47B2-0695-9880-217A5FD0FA5A}"/>
              </a:ext>
            </a:extLst>
          </p:cNvPr>
          <p:cNvSpPr/>
          <p:nvPr/>
        </p:nvSpPr>
        <p:spPr>
          <a:xfrm>
            <a:off x="6824807" y="2643604"/>
            <a:ext cx="4184212" cy="27204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Aft>
                <a:spcPts val="300"/>
              </a:spcAft>
            </a:pPr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e Maßnahmen: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Management Eskalation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rüfung alternativer Lieferanten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Broker-/Händler-Bezüge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Rückkauf von Teilen anderer Kunden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Schaffen maximaler Transparenz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Unterstützung von Lieferanten in der jeweiligen Supply Chain (Tier 2, Tier 3, Tier n)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Outsourcing von nicht kooperativen Lieferanten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Etc.</a:t>
            </a:r>
          </a:p>
          <a:p>
            <a:pPr>
              <a:spcAft>
                <a:spcPts val="300"/>
              </a:spcAft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400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4C758C4-F0A8-7D07-7614-AE5665B1C159}"/>
              </a:ext>
            </a:extLst>
          </p:cNvPr>
          <p:cNvGrpSpPr/>
          <p:nvPr/>
        </p:nvGrpSpPr>
        <p:grpSpPr>
          <a:xfrm>
            <a:off x="715518" y="1140737"/>
            <a:ext cx="10960446" cy="1502866"/>
            <a:chOff x="715518" y="1140737"/>
            <a:chExt cx="10960446" cy="1502866"/>
          </a:xfrm>
        </p:grpSpPr>
        <p:sp>
          <p:nvSpPr>
            <p:cNvPr id="6" name="Gleichschenkliges Dreieck 5">
              <a:extLst>
                <a:ext uri="{FF2B5EF4-FFF2-40B4-BE49-F238E27FC236}">
                  <a16:creationId xmlns:a16="http://schemas.microsoft.com/office/drawing/2014/main" id="{3F18A167-DB99-7E9D-D80A-69C4BA0E7900}"/>
                </a:ext>
              </a:extLst>
            </p:cNvPr>
            <p:cNvSpPr/>
            <p:nvPr/>
          </p:nvSpPr>
          <p:spPr>
            <a:xfrm>
              <a:off x="715518" y="1140737"/>
              <a:ext cx="10960446" cy="1502866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algn="ctr"/>
              <a:endParaRPr lang="de-DE" dirty="0"/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6920287C-D18C-15D3-CDCE-C41174247DEB}"/>
                </a:ext>
              </a:extLst>
            </p:cNvPr>
            <p:cNvSpPr txBox="1"/>
            <p:nvPr/>
          </p:nvSpPr>
          <p:spPr>
            <a:xfrm>
              <a:off x="3990875" y="1760579"/>
              <a:ext cx="4409733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1"/>
                  </a:solidFill>
                </a:rPr>
                <a:t>Oberstes Ziel:</a:t>
              </a:r>
            </a:p>
            <a:p>
              <a:pPr algn="ctr"/>
              <a:r>
                <a:rPr lang="de-DE" b="1" dirty="0">
                  <a:solidFill>
                    <a:schemeClr val="bg1"/>
                  </a:solidFill>
                </a:rPr>
                <a:t>Aufrechterhaltung der Produktionslini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2212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indefinite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9" dur="indefinite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indefinite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2" dur="indefinite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indefinite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5" dur="indefinite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indefinite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8" dur="indefinite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indefinite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1" dur="indefinite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indefinite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4" dur="indefinite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indefinite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7" dur="indefinite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5" presetClass="emph" presetSubtype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 override="childStyle">
                                        <p:cTn id="79" dur="indefinite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indefinite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2" dur="indefinite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indefinite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5" dur="indefinite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indefinite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8" dur="indefinite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indefinite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91" dur="indefinite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indefinite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94" dur="indefinite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indefinite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97" dur="indefinite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indefinite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0" dur="indefinite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5" presetClass="emph" presetSubtype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 override="childStyle">
                                        <p:cTn id="102" dur="indefinite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9F9C1EA-A4C2-EB8D-B357-F078DC16C52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48943" y="1483200"/>
            <a:ext cx="3727120" cy="448303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de-DE" u="sng" dirty="0">
                <a:solidFill>
                  <a:schemeClr val="tx2"/>
                </a:solidFill>
              </a:rPr>
              <a:t>Beschreibung: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sz="1400" dirty="0"/>
              <a:t>Systemgenerierter</a:t>
            </a:r>
            <a:r>
              <a:rPr lang="de-DE" sz="1400" b="0" dirty="0"/>
              <a:t>, tagesgenauer Forecast wird wöchentlich mit Lieferant geteilt &amp; besprochen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sz="1400" dirty="0"/>
              <a:t>Mindestbedarfe</a:t>
            </a:r>
            <a:r>
              <a:rPr lang="de-DE" sz="1400" b="0" dirty="0"/>
              <a:t> und spätester </a:t>
            </a:r>
            <a:r>
              <a:rPr lang="de-DE" sz="1400" dirty="0"/>
              <a:t>Bedarfs-</a:t>
            </a:r>
            <a:r>
              <a:rPr lang="de-DE" sz="1400" dirty="0" err="1"/>
              <a:t>zeitpunkt</a:t>
            </a:r>
            <a:r>
              <a:rPr lang="de-DE" sz="1400" b="0" dirty="0"/>
              <a:t> </a:t>
            </a:r>
            <a:r>
              <a:rPr lang="de-DE" sz="1400" dirty="0"/>
              <a:t>je Material und Werk </a:t>
            </a:r>
            <a:r>
              <a:rPr lang="de-DE" sz="1400" b="0" dirty="0"/>
              <a:t>der gesamten </a:t>
            </a:r>
            <a:r>
              <a:rPr lang="de-DE" sz="1400" dirty="0"/>
              <a:t>TRUMPF Gruppe</a:t>
            </a:r>
            <a:r>
              <a:rPr lang="de-DE" sz="1400" b="0" dirty="0"/>
              <a:t> wird ermittelt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sz="1400" b="0" dirty="0"/>
              <a:t>Offenlegung der internen Bestände </a:t>
            </a:r>
            <a:r>
              <a:rPr lang="de-DE" sz="1400" b="0" dirty="0">
                <a:sym typeface="Wingdings" panose="05000000000000000000" pitchFamily="2" charset="2"/>
              </a:rPr>
              <a:t> Nachweis der Dringlichkeit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de-DE" sz="1400" b="0" dirty="0">
                <a:sym typeface="Wingdings" panose="05000000000000000000" pitchFamily="2" charset="2"/>
              </a:rPr>
              <a:t>Mögliche interne Allokation sichtbar</a:t>
            </a:r>
          </a:p>
          <a:p>
            <a:pPr>
              <a:spcBef>
                <a:spcPts val="0"/>
              </a:spcBef>
            </a:pPr>
            <a:r>
              <a:rPr lang="de-DE" u="sng" dirty="0">
                <a:solidFill>
                  <a:schemeClr val="tx2"/>
                </a:solidFill>
              </a:rPr>
              <a:t>Auswirkung: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120000"/>
              <a:buFont typeface="Segoe UI" panose="020B0502040204020203" pitchFamily="34" charset="0"/>
              <a:buChar char="+"/>
            </a:pPr>
            <a:r>
              <a:rPr lang="de-DE" sz="1400" dirty="0"/>
              <a:t>vollstände Transparenz aller Mat.-Nr.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120000"/>
              <a:buFont typeface="Segoe UI" panose="020B0502040204020203" pitchFamily="34" charset="0"/>
              <a:buChar char="+"/>
            </a:pPr>
            <a:r>
              <a:rPr lang="de-DE" sz="1400" b="0" dirty="0"/>
              <a:t>Lieferant weiß, wann spätestens geliefert werden muss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120000"/>
              <a:buFont typeface="Segoe UI" panose="020B0502040204020203" pitchFamily="34" charset="0"/>
              <a:buChar char="+"/>
            </a:pPr>
            <a:r>
              <a:rPr lang="de-DE" sz="1400" b="0" dirty="0"/>
              <a:t>Kein Hamstern von Beständen!</a:t>
            </a:r>
          </a:p>
          <a:p>
            <a:pPr marL="285750" indent="-285750">
              <a:spcBef>
                <a:spcPts val="0"/>
              </a:spcBef>
              <a:buClr>
                <a:srgbClr val="FF0000"/>
              </a:buClr>
              <a:buSzPct val="120000"/>
              <a:buFont typeface="Symbol" panose="05050102010706020507" pitchFamily="18" charset="2"/>
              <a:buChar char="-"/>
            </a:pPr>
            <a:r>
              <a:rPr lang="de-DE" sz="1400" b="0" dirty="0"/>
              <a:t>Kein Puffer! Verzögerungen bei der Lieferung verursacht unmittelbar Verzug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CA4750C-94A3-4EE1-0806-16656DBB0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ansparenz der Bedarf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4E1A0A-6838-5DE0-0112-D1D1F1EBEF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Bedarf &amp; Reichweite werden offen gelegt – Teilweise Monitoring &gt;1000 </a:t>
            </a:r>
            <a:r>
              <a:rPr lang="de-DE" dirty="0" err="1"/>
              <a:t>Mat.Nr</a:t>
            </a:r>
            <a:r>
              <a:rPr lang="de-DE" dirty="0"/>
              <a:t>. je Lieferan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E08FD04-6FC0-C0ED-E39F-C989967F0F8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9013" y="1483200"/>
            <a:ext cx="7048860" cy="413427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Arrow (2)">
            <a:extLst>
              <a:ext uri="{FF2B5EF4-FFF2-40B4-BE49-F238E27FC236}">
                <a16:creationId xmlns:a16="http://schemas.microsoft.com/office/drawing/2014/main" id="{E3A11B29-CC31-FDD4-2935-BE85EE10EEB6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719012" y="5858073"/>
            <a:ext cx="368643" cy="387798"/>
            <a:chOff x="5097258" y="2241315"/>
            <a:chExt cx="460909" cy="579793"/>
          </a:xfrm>
        </p:grpSpPr>
        <p:sp>
          <p:nvSpPr>
            <p:cNvPr id="11" name="Chevron 17">
              <a:extLst>
                <a:ext uri="{FF2B5EF4-FFF2-40B4-BE49-F238E27FC236}">
                  <a16:creationId xmlns:a16="http://schemas.microsoft.com/office/drawing/2014/main" id="{3E0FA5B2-5EDC-1995-376B-B95A5FB0BB12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5230609" y="2241315"/>
              <a:ext cx="327558" cy="579793"/>
            </a:xfrm>
            <a:prstGeom prst="chevron">
              <a:avLst/>
            </a:prstGeom>
            <a:solidFill>
              <a:srgbClr val="93C11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281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Chevron 18">
              <a:extLst>
                <a:ext uri="{FF2B5EF4-FFF2-40B4-BE49-F238E27FC236}">
                  <a16:creationId xmlns:a16="http://schemas.microsoft.com/office/drawing/2014/main" id="{46D93773-2662-048E-80F1-351DEF6A115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5097258" y="2333066"/>
              <a:ext cx="223887" cy="396287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281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Highlight">
            <a:extLst>
              <a:ext uri="{FF2B5EF4-FFF2-40B4-BE49-F238E27FC236}">
                <a16:creationId xmlns:a16="http://schemas.microsoft.com/office/drawing/2014/main" id="{98691FC3-D79D-F70C-BEAE-01826987111D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905018" y="1396573"/>
            <a:ext cx="4862855" cy="874989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0E32B26-AA9D-896C-0DCF-E96F8A1F5BB4}"/>
              </a:ext>
            </a:extLst>
          </p:cNvPr>
          <p:cNvSpPr/>
          <p:nvPr/>
        </p:nvSpPr>
        <p:spPr>
          <a:xfrm>
            <a:off x="1194311" y="5728914"/>
            <a:ext cx="6573562" cy="646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spcAft>
                <a:spcPts val="600"/>
              </a:spcAft>
            </a:pPr>
            <a:r>
              <a:rPr lang="de-DE" sz="1600" b="1" dirty="0">
                <a:solidFill>
                  <a:schemeClr val="tx1"/>
                </a:solidFill>
              </a:rPr>
              <a:t>Offenheit und Transparenz erzeugt Verständnis bei Lieferanten – Auswirkungen sind nachvollziehbar &amp; Maßnahmen ableitbar</a:t>
            </a:r>
          </a:p>
        </p:txBody>
      </p:sp>
      <p:sp>
        <p:nvSpPr>
          <p:cNvPr id="18" name="Highlight">
            <a:extLst>
              <a:ext uri="{FF2B5EF4-FFF2-40B4-BE49-F238E27FC236}">
                <a16:creationId xmlns:a16="http://schemas.microsoft.com/office/drawing/2014/main" id="{97A10E66-D8B1-80AC-7577-F2A3EAC3FA6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124864" y="2424467"/>
            <a:ext cx="3110325" cy="737234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/>
          </a:p>
        </p:txBody>
      </p:sp>
      <p:sp>
        <p:nvSpPr>
          <p:cNvPr id="20" name="Highlight">
            <a:extLst>
              <a:ext uri="{FF2B5EF4-FFF2-40B4-BE49-F238E27FC236}">
                <a16:creationId xmlns:a16="http://schemas.microsoft.com/office/drawing/2014/main" id="{91691AE7-6C32-0D36-984A-69C0D4A51AF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943100" y="2394955"/>
            <a:ext cx="445770" cy="737235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/>
          </a:p>
        </p:txBody>
      </p:sp>
      <p:sp>
        <p:nvSpPr>
          <p:cNvPr id="21" name="Highlight">
            <a:extLst>
              <a:ext uri="{FF2B5EF4-FFF2-40B4-BE49-F238E27FC236}">
                <a16:creationId xmlns:a16="http://schemas.microsoft.com/office/drawing/2014/main" id="{B2111A57-21E1-7DEA-672C-3EEF7538608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641884" y="2401607"/>
            <a:ext cx="798295" cy="737235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/>
          </a:p>
        </p:txBody>
      </p:sp>
      <p:sp>
        <p:nvSpPr>
          <p:cNvPr id="22" name="Highlight">
            <a:extLst>
              <a:ext uri="{FF2B5EF4-FFF2-40B4-BE49-F238E27FC236}">
                <a16:creationId xmlns:a16="http://schemas.microsoft.com/office/drawing/2014/main" id="{6EA67FA3-60ED-5D55-F8F2-95AD8506DBD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828866" y="2066476"/>
            <a:ext cx="1080194" cy="419263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/>
          </a:p>
        </p:txBody>
      </p:sp>
      <p:sp>
        <p:nvSpPr>
          <p:cNvPr id="23" name="Highlight">
            <a:extLst>
              <a:ext uri="{FF2B5EF4-FFF2-40B4-BE49-F238E27FC236}">
                <a16:creationId xmlns:a16="http://schemas.microsoft.com/office/drawing/2014/main" id="{6089D07C-98F0-9BAD-9B64-E793C8F5B94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3383280" y="2432999"/>
            <a:ext cx="445770" cy="737234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309974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8" grpId="0" animBg="1"/>
      <p:bldP spid="18" grpId="1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PRESENTATION_LANGUAGE" val="1031"/>
  <p:tag name="THINKCELLPRESENTATIONDONOTDELETE" val="&lt;?xml version=&quot;1.0&quot; encoding=&quot;UTF-16&quot; standalone=&quot;yes&quot;?&gt;&lt;root reqver=&quot;27037&quot;&gt;&lt;version val=&quot;3304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m/%y&lt;/m_strFormatTime&gt;&lt;m_yearfmt&gt;&lt;begin val=&quot;4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_p1hRmN5HM1sDgnoNY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KKcbyaY2W6o_UQEjJbN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2X6TQvffqYUaoNEAhcI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n63zTjkQdoqlfF01muz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vlt6PiWKtnL8yCmb6k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XRWZL5gaJukt7RIFJeD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Xfi5eIkB8M86Vbogqbb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rggeN008nUwM6Op.Ss2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.PVjQzdJQjxfJGuZIZf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K6AaYKF0C6NnXi5rUJ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asYd31.nofGb7Xqqem_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SivHGufe2B6HpzEf_3J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VB6hW7y1IYBiCUVDS7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ctnQAe9P9H3Pqt9QMq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945JogdC2sww5qWdcFd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yL.Y1oWv7AgQHPm1VH9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mUKQxexqxfUxNifSB6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10PkDRTzuS8TnbkwTi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duxbPYuCu1J93rbq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H.m84vCyeI3o2j4Xc9z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Rtn0AXPWXrhmpdPmnc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U0jJdGS1d59fH530F3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oY309iCbXPIRNaVsagf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nDamjkFbjcSrhj1Ab3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hc9I64_uw_61KLM4Pe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ujJYbybimE0QKvWZwop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_p1hRmN5HM1sDgnoNY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11isFqFHP2an7mZCEmf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JQi0sZd2v14vxvXsEW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8ZkqkXaBHk8DNmGwK6c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f.F7Uv7Yoa5o8JzKKS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KKcbyaY2W6o_UQEjJbN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2X6TQvffqYUaoNEAhcI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n63zTjkQdoqlfF01muz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vlt6PiWKtnL8yCmb6k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tm_56TD_2wF_2QcxAJb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XRWZL5gaJukt7RIFJe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Xfi5eIkB8M86Vbogqbb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Qs7PMSP_rqevPEmjtE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lKMJpMxs1L4Cz7gpwnR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.PVjQzdJQjxfJGuZIZf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K6AaYKF0C6NnXi5rUJw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asYd31.nofGb7Xqqem_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SivHGufe2B6HpzEf_3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mTlt7y1_aIsbW2J7TW7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qK8dF7cw6zEZJEUqmZQ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bgr8x_0LKw7StC5J3fJ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b2Wflt5my0ZIv.8GQW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gsgFFeL2vIuMYT2pljQ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4l9uIMlh7zZ.NL5fvc2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_Sjn2cwxx0cRhTWQYI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nTqW31bA_jB3JOTzoY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KHwof4UhRdTQsfwYy83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2RXWT8YCO17Nz07X1t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9mhjXyMBfwiq7jDGNIV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NBVE86uU.4H_hnTR4Ih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Kd5xGnGXvZmenHJrf3P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B1JXgimuINSHOeEe2P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owcV1akI_qxlFPgnJEK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uE4kbljJyuFXhxPUvL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G5rg5Beoi1M96tvwHX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n8DdviOwPpxtQI7Is0n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kl9Z5_VPM3_R1Z..VzY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t5GRNMdi4QO7kRfYeQ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n3hDcAjg_VxUUgqwHwm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T_kpAeSFpxUmBzrQC7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x.l3WLVvS.qxFWfyGw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8f61990-3def-4d85-aa39-c06acf2cd2ab"/>
  <p:tag name="MIO_EKGUID" val="b93fc974-3e6d-40d5-a2b7-11e5fb2a195e"/>
  <p:tag name="MIO_UPDATE" val="True"/>
  <p:tag name="MIO_VERSION" val="26.02.2019 11:51:53"/>
  <p:tag name="MIO_DBID" val="8236CE71-3243-41A3-904F-7EA9E80C736A"/>
  <p:tag name="MIO_LASTDOWNLOADED" val="17.04.2023 23:21:20.505"/>
  <p:tag name="MIO_OBJECTNAME" val="TRUMPF"/>
  <p:tag name="MIO_LASTEDITORNAME" val="empower Brandin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0c127e-aa37-4f3f-961d-001e3bbef02a"/>
  <p:tag name="MIO_EKGUID" val="074804f7-d527-4122-a621-b26745a84e98"/>
  <p:tag name="MIO_UPDATE" val="True"/>
  <p:tag name="MIO_VERSION" val="26.11.2021 10:04:55"/>
  <p:tag name="MIO_DBID" val="8236CE71-3243-41A3-904F-7EA9E80C736A"/>
  <p:tag name="MIO_LASTDOWNLOADED" val="11.04.2023 14:11:01.895"/>
  <p:tag name="MIO_OBJECTNAME" val="Coffee break"/>
  <p:tag name="MIO_LASTEDITORNAME" val="empower Brandi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38a665-d686-476e-a182-03e663ec6f99"/>
  <p:tag name="MIO_EKGUID" val="e7711266-1164-48b7-9a56-c184eeea4eb8"/>
  <p:tag name="MIO_UPDATE" val="True"/>
  <p:tag name="MIO_VERSION" val="26.11.2021 10:04:27"/>
  <p:tag name="MIO_DBID" val="8236CE71-3243-41A3-904F-7EA9E80C736A"/>
  <p:tag name="MIO_LASTDOWNLOADED" val="11.04.2023 17:06:57.128"/>
  <p:tag name="MIO_OBJECTNAME" val="Arrow (2)"/>
  <p:tag name="MIO_LASTEDITORNAME" val="empower Brandin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8fd8c1-7c32-4a05-870f-8fd69fd9095e"/>
  <p:tag name="MIO_EK" val="648"/>
  <p:tag name="MIO_EKGUID" val="861cbe49-65d9-4b7d-a834-e16047854516"/>
  <p:tag name="MIO_UPDATE" val="True"/>
  <p:tag name="MIO_VERSION" val="26.11.2021 10:10:18"/>
  <p:tag name="MIO_DBID" val="8236CE71-3243-41A3-904F-7EA9E80C736A"/>
  <p:tag name="MIO_LASTDOWNLOADED" val="11.04.2023 17:07:13.518"/>
  <p:tag name="MIO_OBJECTNAME" val="Highlight"/>
  <p:tag name="MIO_LASTEDITORNAME" val="empower Brandin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8fd8c1-7c32-4a05-870f-8fd69fd9095e"/>
  <p:tag name="MIO_EK" val="648"/>
  <p:tag name="MIO_EKGUID" val="861cbe49-65d9-4b7d-a834-e16047854516"/>
  <p:tag name="MIO_UPDATE" val="True"/>
  <p:tag name="MIO_VERSION" val="26.11.2021 10:10:18"/>
  <p:tag name="MIO_DBID" val="8236CE71-3243-41A3-904F-7EA9E80C736A"/>
  <p:tag name="MIO_LASTDOWNLOADED" val="11.04.2023 17:13:17.665"/>
  <p:tag name="MIO_OBJECTNAME" val="Highlight"/>
  <p:tag name="MIO_LASTEDITORNAME" val="empower Brandin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8fd8c1-7c32-4a05-870f-8fd69fd9095e"/>
  <p:tag name="MIO_EK" val="648"/>
  <p:tag name="MIO_EKGUID" val="861cbe49-65d9-4b7d-a834-e16047854516"/>
  <p:tag name="MIO_UPDATE" val="True"/>
  <p:tag name="MIO_VERSION" val="26.11.2021 10:10:18"/>
  <p:tag name="MIO_DBID" val="8236CE71-3243-41A3-904F-7EA9E80C736A"/>
  <p:tag name="MIO_LASTDOWNLOADED" val="11.04.2023 17:13:17.665"/>
  <p:tag name="MIO_OBJECTNAME" val="Highlight"/>
  <p:tag name="MIO_LASTEDITORNAME" val="empower Brandin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8fd8c1-7c32-4a05-870f-8fd69fd9095e"/>
  <p:tag name="MIO_EK" val="648"/>
  <p:tag name="MIO_EKGUID" val="861cbe49-65d9-4b7d-a834-e16047854516"/>
  <p:tag name="MIO_UPDATE" val="True"/>
  <p:tag name="MIO_VERSION" val="26.11.2021 10:10:18"/>
  <p:tag name="MIO_DBID" val="8236CE71-3243-41A3-904F-7EA9E80C736A"/>
  <p:tag name="MIO_LASTDOWNLOADED" val="11.04.2023 17:13:17.665"/>
  <p:tag name="MIO_OBJECTNAME" val="Highlight"/>
  <p:tag name="MIO_LASTEDITORNAME" val="empower Brandin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8fd8c1-7c32-4a05-870f-8fd69fd9095e"/>
  <p:tag name="MIO_EK" val="648"/>
  <p:tag name="MIO_EKGUID" val="861cbe49-65d9-4b7d-a834-e16047854516"/>
  <p:tag name="MIO_UPDATE" val="True"/>
  <p:tag name="MIO_VERSION" val="26.11.2021 10:10:18"/>
  <p:tag name="MIO_DBID" val="8236CE71-3243-41A3-904F-7EA9E80C736A"/>
  <p:tag name="MIO_LASTDOWNLOADED" val="11.04.2023 17:16:44.672"/>
  <p:tag name="MIO_OBJECTNAME" val="Highlight"/>
  <p:tag name="MIO_LASTEDITORNAME" val="empower Brandin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8fd8c1-7c32-4a05-870f-8fd69fd9095e"/>
  <p:tag name="MIO_EK" val="648"/>
  <p:tag name="MIO_EKGUID" val="861cbe49-65d9-4b7d-a834-e16047854516"/>
  <p:tag name="MIO_UPDATE" val="True"/>
  <p:tag name="MIO_VERSION" val="26.11.2021 10:10:18"/>
  <p:tag name="MIO_DBID" val="8236CE71-3243-41A3-904F-7EA9E80C736A"/>
  <p:tag name="MIO_LASTDOWNLOADED" val="11.04.2023 17:18:15.356"/>
  <p:tag name="MIO_OBJECTNAME" val="Highlight"/>
  <p:tag name="MIO_LASTEDITORNAME" val="empower Brandin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64719b-804d-43d4-ac8d-09ee6be3130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fe2548-a46b-4498-877d-f369900e7e6b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1424f0a-e931-483a-90d2-1b2c3816fcf3"/>
  <p:tag name="MIO_GUID" val="863ba366-42c5-4757-81e3-a08ba1689124"/>
  <p:tag name="MIO_UPDATE" val="True"/>
  <p:tag name="MIO_VERSION" val="30.11.2021 10:27:27"/>
  <p:tag name="MIO_DBID" val="8236CE71-3243-41A3-904F-7EA9E80C736A"/>
  <p:tag name="MIO_LASTDOWNLOADED" val="11.04.2023 14:56:06.059"/>
  <p:tag name="MIO_OBJECTNAME" val="Info"/>
  <p:tag name="MIO_LASTEDITORNAME" val="empower Brandin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45255f1-540f-4ba9-a9b3-2a9c5c04050e"/>
  <p:tag name="MIO_GUID" val="0c801cd6-1dd8-4b26-b39e-b0ee262f08d4"/>
  <p:tag name="MIO_UPDATE" val="True"/>
  <p:tag name="MIO_VERSION" val="30.11.2021 10:25:59"/>
  <p:tag name="MIO_DBID" val="8236CE71-3243-41A3-904F-7EA9E80C736A"/>
  <p:tag name="MIO_LASTDOWNLOADED" val="17.04.2023 17:36:12.076"/>
  <p:tag name="MIO_OBJECTNAME" val="Time / Clock - Zeit / Uhr"/>
  <p:tag name="MIO_LASTEDITORNAME" val="empower Brandin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0e27f16-acbe-49ec-ad2f-2a98ebe06ca9"/>
  <p:tag name="MIO_GUID" val="37298bb5-6829-4e8d-b568-80cc013a9d37"/>
  <p:tag name="MIO_UPDATE" val="True"/>
  <p:tag name="MIO_VERSION" val="30.11.2021 10:23:40"/>
  <p:tag name="MIO_DBID" val="8236CE71-3243-41A3-904F-7EA9E80C736A"/>
  <p:tag name="MIO_LASTDOWNLOADED" val="17.04.2023 17:36:29.232"/>
  <p:tag name="MIO_OBJECTNAME" val="Smart View Services"/>
  <p:tag name="MIO_LASTEDITORNAME" val="empower Brandin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9995239-57d5-420b-98e2-65a0395baa2b"/>
  <p:tag name="MIO_GUID" val="5292c357-83f9-474a-b6c5-768c5f98949f"/>
  <p:tag name="MIO_UPDATE" val="True"/>
  <p:tag name="MIO_VERSION" val="30.11.2021 11:14:37"/>
  <p:tag name="MIO_DBID" val="8236CE71-3243-41A3-904F-7EA9E80C736A"/>
  <p:tag name="MIO_LASTDOWNLOADED" val="17.04.2023 17:36:48.331"/>
  <p:tag name="MIO_OBJECTNAME" val="simple-processes"/>
  <p:tag name="MIO_LASTEDITORNAME" val="empower Brandin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9942adb-fcee-4b7a-a291-c6d01d376738"/>
  <p:tag name="MIO_GUID" val="5c73401c-2706-41a3-a5ea-28a5237b5311"/>
  <p:tag name="MIO_UPDATE" val="True"/>
  <p:tag name="MIO_VERSION" val="30.11.2021 11:03:05"/>
  <p:tag name="MIO_DBID" val="8236CE71-3243-41A3-904F-7EA9E80C736A"/>
  <p:tag name="MIO_LASTDOWNLOADED" val="17.04.2023 17:37:16.472"/>
  <p:tag name="MIO_OBJECTNAME" val="myTRUMPF"/>
  <p:tag name="MIO_LASTEDITORNAME" val="empower Brand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10"/>
  <p:tag name="MIO_NUMBER_OF_VALID_LAYOUTS" val="45"/>
  <p:tag name="MIO_EKGUID" val="026bcd97-6e5d-4e4b-8d5e-53ee20b54ad4"/>
  <p:tag name="MIO_VERSION" val="06.12.2022 13:42:47"/>
  <p:tag name="MIO_OBJECTNAME" val="TRUMPF Navigation"/>
  <p:tag name="MIO_LASTDOWNLOADED" val="11.04.2023 14:07:21.886"/>
  <p:tag name="MIO_CDID" val="d30371fb-bd2b-4816-a0ce-bd6a1479ab6b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17f5ec4-76cb-4f79-8258-bef92c035aca"/>
  <p:tag name="MIO_EKGUID" val="6cbca026-96ec-4dc8-b397-072a13e83965"/>
  <p:tag name="MIO_UPDATE" val="True"/>
  <p:tag name="MIO_VERSION" val="13.03.2023 13:25:24"/>
  <p:tag name="MIO_DBID" val="8236CE71-3243-41A3-904F-7EA9E80C736A"/>
  <p:tag name="MIO_LASTDOWNLOADED" val="11.04.2023 17:32:14.086"/>
  <p:tag name="MIO_OBJECTNAME" val="Smart Factory"/>
  <p:tag name="MIO_LASTEDITORNAME" val="empower Brandi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duxbPYuCu1J93rbqu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mUKQxexqxfUxNifSB6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10PkDRTzuS8TnbkwTi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yL.Y1oWv7AgQHPm1VH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nDamjkFbjcSrhj1Ab3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Rtn0AXPWXrhmpdPmncE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945JogdC2sww5qWdcF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H.m84vCyeI3o2j4Xc9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U0jJdGS1d59fH530F3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oY309iCbXPIRNaVsagf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hc9I64_uw_61KLM4Pe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ujJYbybimE0QKvWZwo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_p1hRmN5HM1sDgnoNY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f.F7Uv7Yoa5o8JzKK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XRWZL5gaJukt7RIFJe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11isFqFHP2an7mZCEmf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8ZkqkXaBHk8DNmGwK6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KKcbyaY2W6o_UQEjJbN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2X6TQvffqYUaoNEAhc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n63zTjkQdoqlfF01muz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vlt6PiWKtnL8yCmb6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tm_56TD_2wF_2QcxAJb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JQi0sZd2v14vxvXsEWO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Xfi5eIkB8M86Vbogqbb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WlJZNEzqueYNTuukx2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.PVjQzdJQjxfJGuZIZf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asYd31.nofGb7Xqqem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EO6XEyMkcFCuXl9isk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iQHWgQMTfFHoEVI.kZ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mUKQxexqxfUxNifSB6c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10PkDRTzuS8TnbkwTi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yL.Y1oWv7AgQHPm1VH9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duxbPYuCu1J93rbq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945JogdC2sww5qWdcFd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H.m84vCyeI3o2j4Xc9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Rtn0AXPWXrhmpdPmnc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U0jJdGS1d59fH530F3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oY309iCbXPIRNaVsag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nDamjkFbjcSrhj1Ab3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hc9I64_uw_61KLM4Pe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ujJYbybimE0QKvWZwo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tm_56TD_2wF_2QcxAJb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8ZkqkXaBHk8DNmGwK6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11isFqFHP2an7mZCEm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f.F7Uv7Yoa5o8JzKKS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JQi0sZd2v14vxvXsEWOQ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cc70353-449a-458c-af38-81fd801b6559">
      <UserInfo>
        <DisplayName>Schmitz, Christian (TH)</DisplayName>
        <AccountId>14</AccountId>
        <AccountType/>
      </UserInfo>
    </SharedWithUsers>
    <lcf76f155ced4ddcb4097134ff3c332f xmlns="46a56ff4-038c-43a1-8198-66df79d5b4f2">
      <Terms xmlns="http://schemas.microsoft.com/office/infopath/2007/PartnerControls"/>
    </lcf76f155ced4ddcb4097134ff3c332f>
    <TaxCatchAll xmlns="acc70353-449a-458c-af38-81fd801b6559" xsi:nil="true"/>
    <Uhrzeit xmlns="46a56ff4-038c-43a1-8198-66df79d5b4f2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2DCBEA-E0BD-4136-B76E-0014F6F07507}">
  <ds:schemaRefs>
    <ds:schemaRef ds:uri="a98e9440-da42-4f7b-b9e2-31714d3e3116"/>
    <ds:schemaRef ds:uri="http://purl.org/dc/terms/"/>
    <ds:schemaRef ds:uri="f832760f-2427-4521-bf0f-cf10ed1d4c24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90ed1bf7-83fc-455d-ba27-00cceabe3758"/>
    <ds:schemaRef ds:uri="e9621dcd-59de-421f-9f04-04ef58d2cbc5"/>
  </ds:schemaRefs>
</ds:datastoreItem>
</file>

<file path=customXml/itemProps2.xml><?xml version="1.0" encoding="utf-8"?>
<ds:datastoreItem xmlns:ds="http://schemas.openxmlformats.org/officeDocument/2006/customXml" ds:itemID="{69387824-3DA7-41C1-8863-E88EA2616A85}"/>
</file>

<file path=customXml/itemProps3.xml><?xml version="1.0" encoding="utf-8"?>
<ds:datastoreItem xmlns:ds="http://schemas.openxmlformats.org/officeDocument/2006/customXml" ds:itemID="{A052D838-19A9-4A08-96DD-76DDBF4A1A1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Words>751</Words>
  <Application>Microsoft Office PowerPoint</Application>
  <PresentationFormat>Widescreen</PresentationFormat>
  <Paragraphs>195</Paragraphs>
  <Slides>11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Trumpf PowerPoint 2019</vt:lpstr>
      <vt:lpstr>Lean im Engpassmanagement</vt:lpstr>
      <vt:lpstr>Ausgangslage TRUMPF 2021 – prä-Engpasskrise</vt:lpstr>
      <vt:lpstr>Umsatzentwicklung durch Engpass</vt:lpstr>
      <vt:lpstr>Umsatzentwicklung durch Engpass</vt:lpstr>
      <vt:lpstr>Umsatzentwicklung durch Engpass</vt:lpstr>
      <vt:lpstr>Marktposition TRUMPF Machine Tools </vt:lpstr>
      <vt:lpstr>Schlanke Organisation im Engpassmanagement</vt:lpstr>
      <vt:lpstr>Engpassmanagement: Maßnahmen TRUMPF </vt:lpstr>
      <vt:lpstr>Transparenz der Bedarfe</vt:lpstr>
      <vt:lpstr>Prozess: Einführung alternativer Bauteile (vereinfachte Darstellung) </vt:lpstr>
      <vt:lpstr>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lastModifiedBy>Ziegler, Moritz</cp:lastModifiedBy>
  <cp:revision>40</cp:revision>
  <cp:lastPrinted>2019-01-11T14:04:50Z</cp:lastPrinted>
  <dcterms:created xsi:type="dcterms:W3CDTF">2019-04-11T08:14:40Z</dcterms:created>
  <dcterms:modified xsi:type="dcterms:W3CDTF">2023-04-19T15:0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  <property fmtid="{D5CDD505-2E9C-101B-9397-08002B2CF9AE}" pid="3" name="MediaServiceImageTags">
    <vt:lpwstr/>
  </property>
</Properties>
</file>